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slideMasters/slideMaster6.xml" ContentType="application/vnd.openxmlformats-officedocument.presentationml.slideMaster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slideLayouts/slideLayout3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heme/theme7.xml" ContentType="application/vnd.openxmlformats-officedocument.them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1" r:id="rId1"/>
    <p:sldMasterId id="2147483725" r:id="rId2"/>
    <p:sldMasterId id="2147483754" r:id="rId3"/>
    <p:sldMasterId id="2147483759" r:id="rId4"/>
    <p:sldMasterId id="2147483782" r:id="rId5"/>
    <p:sldMasterId id="2147483793" r:id="rId6"/>
  </p:sldMasterIdLst>
  <p:notesMasterIdLst>
    <p:notesMasterId r:id="rId20"/>
  </p:notesMasterIdLst>
  <p:sldIdLst>
    <p:sldId id="451" r:id="rId7"/>
    <p:sldId id="559" r:id="rId8"/>
    <p:sldId id="563" r:id="rId9"/>
    <p:sldId id="564" r:id="rId10"/>
    <p:sldId id="577" r:id="rId11"/>
    <p:sldId id="562" r:id="rId12"/>
    <p:sldId id="569" r:id="rId13"/>
    <p:sldId id="570" r:id="rId14"/>
    <p:sldId id="571" r:id="rId15"/>
    <p:sldId id="579" r:id="rId16"/>
    <p:sldId id="572" r:id="rId17"/>
    <p:sldId id="573" r:id="rId18"/>
    <p:sldId id="578" r:id="rId19"/>
  </p:sldIdLst>
  <p:sldSz cx="9144000" cy="6858000" type="screen4x3"/>
  <p:notesSz cx="6797675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9966"/>
    <a:srgbClr val="82C45B"/>
    <a:srgbClr val="68A3D8"/>
    <a:srgbClr val="006736"/>
    <a:srgbClr val="DBDCDE"/>
    <a:srgbClr val="FDB933"/>
    <a:srgbClr val="F8ED53"/>
    <a:srgbClr val="21572C"/>
    <a:srgbClr val="FA877E"/>
    <a:srgbClr val="7F7F7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47" autoAdjust="0"/>
    <p:restoredTop sz="94434" autoAdjust="0"/>
  </p:normalViewPr>
  <p:slideViewPr>
    <p:cSldViewPr>
      <p:cViewPr varScale="1">
        <p:scale>
          <a:sx n="110" d="100"/>
          <a:sy n="110" d="100"/>
        </p:scale>
        <p:origin x="-1788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15" d="100"/>
          <a:sy n="115" d="100"/>
        </p:scale>
        <p:origin x="4218" y="84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958" cy="494107"/>
          </a:xfrm>
          <a:prstGeom prst="rect">
            <a:avLst/>
          </a:prstGeom>
        </p:spPr>
        <p:txBody>
          <a:bodyPr vert="horz" lIns="91307" tIns="45654" rIns="91307" bIns="4565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1098" y="1"/>
            <a:ext cx="2944958" cy="494107"/>
          </a:xfrm>
          <a:prstGeom prst="rect">
            <a:avLst/>
          </a:prstGeom>
        </p:spPr>
        <p:txBody>
          <a:bodyPr vert="horz" lIns="91307" tIns="45654" rIns="91307" bIns="45654" rtlCol="0"/>
          <a:lstStyle>
            <a:lvl1pPr algn="r">
              <a:defRPr sz="1200"/>
            </a:lvl1pPr>
          </a:lstStyle>
          <a:p>
            <a:fld id="{1A32CFED-1993-40E7-B953-DFFF53FAF389}" type="datetimeFigureOut">
              <a:rPr lang="ru-RU" smtClean="0"/>
              <a:pPr/>
              <a:t>24.0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7" tIns="45654" rIns="91307" bIns="4565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609" y="4690069"/>
            <a:ext cx="5438463" cy="4442225"/>
          </a:xfrm>
          <a:prstGeom prst="rect">
            <a:avLst/>
          </a:prstGeom>
        </p:spPr>
        <p:txBody>
          <a:bodyPr vert="horz" lIns="91307" tIns="45654" rIns="91307" bIns="4565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6980"/>
            <a:ext cx="2944958" cy="494107"/>
          </a:xfrm>
          <a:prstGeom prst="rect">
            <a:avLst/>
          </a:prstGeom>
        </p:spPr>
        <p:txBody>
          <a:bodyPr vert="horz" lIns="91307" tIns="45654" rIns="91307" bIns="4565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1098" y="9376980"/>
            <a:ext cx="2944958" cy="494107"/>
          </a:xfrm>
          <a:prstGeom prst="rect">
            <a:avLst/>
          </a:prstGeom>
        </p:spPr>
        <p:txBody>
          <a:bodyPr vert="horz" lIns="91307" tIns="45654" rIns="91307" bIns="45654" rtlCol="0" anchor="b"/>
          <a:lstStyle>
            <a:lvl1pPr algn="r">
              <a:defRPr sz="1200"/>
            </a:lvl1pPr>
          </a:lstStyle>
          <a:p>
            <a:fld id="{04B45D14-248B-47E4-83C3-39157A436A5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09614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0275" y="739775"/>
            <a:ext cx="4937125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527EA0-F3CC-42DA-A847-8594E5B87A80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435637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0275" y="739775"/>
            <a:ext cx="4937125" cy="3703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4D6E79-4789-4D20-B95C-8A7D12A55445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71932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B45D14-248B-47E4-83C3-39157A436A55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39179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5.v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550806" y="5013325"/>
            <a:ext cx="4876397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Имя выступающего </a:t>
            </a:r>
            <a:r>
              <a:rPr lang="en-US" dirty="0" smtClean="0"/>
              <a:t>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ru-RU" dirty="0" smtClean="0"/>
              <a:t>Должность выступающего </a:t>
            </a:r>
            <a:r>
              <a:rPr lang="en-US" dirty="0" smtClean="0"/>
              <a:t>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096428" y="6165850"/>
            <a:ext cx="2808287" cy="692150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448625" y="692150"/>
            <a:ext cx="2978578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16803" y="3500439"/>
            <a:ext cx="7704138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245347" y="3716344"/>
            <a:ext cx="7181850" cy="1296987"/>
          </a:xfrm>
        </p:spPr>
        <p:txBody>
          <a:bodyPr anchor="t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Подзаголовок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12351" y="2565400"/>
            <a:ext cx="7414846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r>
              <a:rPr lang="ru-RU" dirty="0" smtClean="0"/>
              <a:t>Заголовок </a:t>
            </a:r>
            <a:r>
              <a:rPr lang="ru-RU" b="1" dirty="0" smtClean="0"/>
              <a:t>т</a:t>
            </a:r>
            <a:r>
              <a:rPr lang="en-US" b="1" dirty="0" err="1" smtClean="0"/>
              <a:t>итульн</a:t>
            </a:r>
            <a:r>
              <a:rPr lang="ru-RU" b="1" dirty="0" smtClean="0"/>
              <a:t>ого</a:t>
            </a:r>
            <a:r>
              <a:rPr lang="en-US" b="1" dirty="0" smtClean="0"/>
              <a:t> </a:t>
            </a:r>
            <a:r>
              <a:rPr lang="en-US" b="1" dirty="0" err="1" smtClean="0"/>
              <a:t>слайд</a:t>
            </a:r>
            <a:r>
              <a:rPr lang="ru-RU" b="1" dirty="0" smtClean="0"/>
              <a:t>а</a:t>
            </a:r>
            <a:r>
              <a:rPr lang="en-US" b="1" dirty="0" smtClean="0"/>
              <a:t>:</a:t>
            </a:r>
          </a:p>
          <a:p>
            <a:r>
              <a:rPr lang="en-US" dirty="0" smtClean="0"/>
              <a:t>(Arial 24 </a:t>
            </a:r>
            <a:r>
              <a:rPr lang="ru-RU" dirty="0" err="1" smtClean="0"/>
              <a:t>пт</a:t>
            </a:r>
            <a:r>
              <a:rPr lang="en-US" dirty="0" smtClean="0"/>
              <a:t>, RGB 0-103-54)</a:t>
            </a:r>
            <a:endParaRPr lang="ru-RU" dirty="0" smtClean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17400" y="663422"/>
            <a:ext cx="1246401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36871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OBLOJKA_3_rus_3_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9928"/>
            <a:ext cx="9144000" cy="688538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995938" y="1484784"/>
            <a:ext cx="4896544" cy="2304256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ru-RU" sz="2600" b="1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ru-RU" dirty="0" smtClean="0"/>
              <a:t>Название презентации (шрифт </a:t>
            </a:r>
            <a:r>
              <a:rPr lang="ru-RU" dirty="0" err="1" smtClean="0"/>
              <a:t>Arial</a:t>
            </a:r>
            <a:r>
              <a:rPr lang="ru-RU" dirty="0" smtClean="0"/>
              <a:t> 26 </a:t>
            </a:r>
            <a:r>
              <a:rPr lang="ru-RU" dirty="0" err="1" smtClean="0"/>
              <a:t>пт</a:t>
            </a:r>
            <a:r>
              <a:rPr lang="ru-RU" dirty="0" smtClean="0"/>
              <a:t> жирный, 3 строки максимум)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95937" y="3717033"/>
            <a:ext cx="4898101" cy="86409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Имя Фамилия </a:t>
            </a:r>
            <a:br>
              <a:rPr lang="ru-RU" dirty="0" smtClean="0"/>
            </a:br>
            <a:r>
              <a:rPr lang="ru-RU" dirty="0" smtClean="0"/>
              <a:t>Должность выступающего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091386" y="4581129"/>
            <a:ext cx="3288928" cy="864096"/>
          </a:xfrm>
          <a:prstGeom prst="rect">
            <a:avLst/>
          </a:prstGeom>
        </p:spPr>
        <p:txBody>
          <a:bodyPr anchor="ctr"/>
          <a:lstStyle>
            <a:lvl1pPr>
              <a:defRPr sz="13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>
                <a:solidFill>
                  <a:srgbClr val="FFFFFF"/>
                </a:solidFill>
                <a:latin typeface="Arial"/>
                <a:cs typeface="Arial"/>
              </a:rPr>
              <a:t>Дата </a:t>
            </a:r>
            <a:br>
              <a:rPr lang="ru-RU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ru-RU" dirty="0" smtClean="0">
                <a:solidFill>
                  <a:srgbClr val="FFFFFF"/>
                </a:solidFill>
                <a:latin typeface="Arial"/>
                <a:cs typeface="Arial"/>
              </a:rPr>
              <a:t>Место</a:t>
            </a:r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 (Arial </a:t>
            </a:r>
            <a:r>
              <a:rPr lang="ru-RU" dirty="0" smtClean="0">
                <a:solidFill>
                  <a:srgbClr val="FFFFFF"/>
                </a:solidFill>
                <a:latin typeface="Arial"/>
                <a:cs typeface="Arial"/>
              </a:rPr>
              <a:t>13</a:t>
            </a:r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ru-RU" dirty="0" err="1" smtClean="0">
                <a:solidFill>
                  <a:srgbClr val="FFFFFF"/>
                </a:solidFill>
                <a:latin typeface="Arial"/>
                <a:cs typeface="Arial"/>
              </a:rPr>
              <a:t>пт</a:t>
            </a:r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, </a:t>
            </a:r>
            <a:r>
              <a:rPr lang="ru-RU" dirty="0" smtClean="0">
                <a:solidFill>
                  <a:srgbClr val="FFFFFF"/>
                </a:solidFill>
                <a:latin typeface="Arial"/>
                <a:cs typeface="Arial"/>
              </a:rPr>
              <a:t>по желанию</a:t>
            </a:r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xmlns="" val="1953532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74" y="126623"/>
            <a:ext cx="7440162" cy="7680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dirty="0"/>
            </a:lvl1pPr>
          </a:lstStyle>
          <a:p>
            <a:r>
              <a:rPr lang="ru-RU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Содержание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50130" y="1268761"/>
            <a:ext cx="8642350" cy="4752628"/>
          </a:xfrm>
        </p:spPr>
        <p:txBody>
          <a:bodyPr/>
          <a:lstStyle>
            <a:lvl1pPr>
              <a:defRPr baseline="0"/>
            </a:lvl1pPr>
            <a:lvl2pPr marL="361950" indent="0">
              <a:buNone/>
              <a:defRPr/>
            </a:lvl2pPr>
            <a:lvl3pPr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smtClean="0"/>
              <a:t>Первый пункт повестки</a:t>
            </a:r>
            <a:br>
              <a:rPr lang="ru-RU" dirty="0" smtClean="0"/>
            </a:br>
            <a:r>
              <a:rPr lang="ru-RU" dirty="0" smtClean="0"/>
              <a:t>Второй пункт повестки</a:t>
            </a:r>
            <a:br>
              <a:rPr lang="ru-RU" dirty="0" smtClean="0"/>
            </a:br>
            <a:r>
              <a:rPr lang="ru-RU" dirty="0" smtClean="0"/>
              <a:t>Третий пункт повестки</a:t>
            </a:r>
          </a:p>
        </p:txBody>
      </p:sp>
    </p:spTree>
    <p:extLst>
      <p:ext uri="{BB962C8B-B14F-4D97-AF65-F5344CB8AC3E}">
        <p14:creationId xmlns:p14="http://schemas.microsoft.com/office/powerpoint/2010/main" xmlns="" val="2425936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текстовая информация,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74" y="126623"/>
            <a:ext cx="7440162" cy="7680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50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заголовка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одна строка по левому краю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250130" y="1700219"/>
            <a:ext cx="8642350" cy="4321175"/>
          </a:xfrm>
        </p:spPr>
        <p:txBody>
          <a:bodyPr/>
          <a:lstStyle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xmlns="" val="3201385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, графика и таблиц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604797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таблицы или диаграммы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51520" y="1988841"/>
            <a:ext cx="4245868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  <a:r>
              <a:rPr lang="en-US" dirty="0" smtClean="0"/>
              <a:t> – </a:t>
            </a:r>
            <a:r>
              <a:rPr lang="ru-RU" dirty="0" smtClean="0"/>
              <a:t>18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endParaRPr lang="ru-RU" dirty="0" smtClean="0"/>
          </a:p>
          <a:p>
            <a:pPr lvl="1"/>
            <a:r>
              <a:rPr lang="ru-RU" dirty="0" smtClean="0"/>
              <a:t>Второй уровень</a:t>
            </a:r>
            <a:r>
              <a:rPr lang="en-US" dirty="0" smtClean="0"/>
              <a:t> – </a:t>
            </a:r>
            <a:r>
              <a:rPr lang="ru-RU" dirty="0" smtClean="0"/>
              <a:t>18 </a:t>
            </a:r>
            <a:r>
              <a:rPr lang="ru-RU" dirty="0" err="1" smtClean="0"/>
              <a:t>пт</a:t>
            </a:r>
            <a:endParaRPr lang="ru-RU" dirty="0" smtClean="0"/>
          </a:p>
          <a:p>
            <a:pPr lvl="2"/>
            <a:r>
              <a:rPr lang="ru-RU" dirty="0" smtClean="0"/>
              <a:t>Третий уровень – 16 </a:t>
            </a:r>
            <a:r>
              <a:rPr lang="ru-RU" dirty="0" err="1" smtClean="0"/>
              <a:t>пт</a:t>
            </a:r>
            <a:endParaRPr lang="ru-RU" dirty="0" smtClean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604799"/>
            <a:ext cx="4247454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таблицы или диаграммы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4645026" y="1988841"/>
            <a:ext cx="4247454" cy="4032448"/>
          </a:xfrm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  <a:r>
              <a:rPr lang="en-US" dirty="0" smtClean="0"/>
              <a:t> – </a:t>
            </a:r>
            <a:r>
              <a:rPr lang="ru-RU" dirty="0" smtClean="0"/>
              <a:t>18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endParaRPr lang="ru-RU" dirty="0" smtClean="0"/>
          </a:p>
          <a:p>
            <a:pPr lvl="1"/>
            <a:r>
              <a:rPr lang="ru-RU" dirty="0" smtClean="0"/>
              <a:t>Второй уровень</a:t>
            </a:r>
            <a:r>
              <a:rPr lang="en-US" dirty="0" smtClean="0"/>
              <a:t> – </a:t>
            </a:r>
            <a:r>
              <a:rPr lang="ru-RU" dirty="0" smtClean="0"/>
              <a:t>18 </a:t>
            </a:r>
            <a:r>
              <a:rPr lang="ru-RU" dirty="0" err="1" smtClean="0"/>
              <a:t>пт</a:t>
            </a:r>
            <a:endParaRPr lang="ru-RU" dirty="0" smtClean="0"/>
          </a:p>
          <a:p>
            <a:pPr lvl="2"/>
            <a:r>
              <a:rPr lang="ru-RU" dirty="0" smtClean="0"/>
              <a:t>Третий уровень – 16 </a:t>
            </a:r>
            <a:r>
              <a:rPr lang="ru-RU" dirty="0" err="1" smtClean="0"/>
              <a:t>пт</a:t>
            </a:r>
            <a:endParaRPr lang="ru-RU" dirty="0" smtClean="0"/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50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заголовка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одна строка</a:t>
            </a:r>
            <a:r>
              <a:rPr lang="en-US" dirty="0" smtClean="0"/>
              <a:t> </a:t>
            </a:r>
            <a:r>
              <a:rPr lang="ru-RU" dirty="0" smtClean="0"/>
              <a:t>выравнивание по левому краю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89289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184576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724130" y="1124746"/>
            <a:ext cx="3168352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/>
          </p:nvPr>
        </p:nvSpPr>
        <p:spPr>
          <a:xfrm>
            <a:off x="250825" y="1989138"/>
            <a:ext cx="5184775" cy="4464198"/>
          </a:xfrm>
        </p:spPr>
        <p:txBody>
          <a:bodyPr/>
          <a:lstStyle/>
          <a:p>
            <a:endParaRPr lang="ru-RU"/>
          </a:p>
        </p:txBody>
      </p:sp>
      <p:sp>
        <p:nvSpPr>
          <p:cNvPr id="13" name="Диаграмма 12"/>
          <p:cNvSpPr>
            <a:spLocks noGrp="1"/>
          </p:cNvSpPr>
          <p:nvPr>
            <p:ph type="chart" sz="quarter" idx="11"/>
          </p:nvPr>
        </p:nvSpPr>
        <p:spPr>
          <a:xfrm>
            <a:off x="5724525" y="1988841"/>
            <a:ext cx="3168650" cy="4464348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59936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idge slide v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5616624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868144" y="1124746"/>
            <a:ext cx="3024336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Комментарии и выводы</a:t>
            </a:r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0"/>
          </p:nvPr>
        </p:nvSpPr>
        <p:spPr>
          <a:xfrm>
            <a:off x="250828" y="1556792"/>
            <a:ext cx="5616575" cy="4464596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5867403" y="1557338"/>
            <a:ext cx="3025775" cy="446405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xmlns="" val="1846200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idge slide v.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79512" y="1124750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заголовка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одна строка</a:t>
            </a:r>
            <a:r>
              <a:rPr lang="en-US" dirty="0" smtClean="0"/>
              <a:t> </a:t>
            </a:r>
            <a:r>
              <a:rPr lang="ru-RU" dirty="0" smtClean="0"/>
              <a:t>выравнивание по левому краю</a:t>
            </a:r>
            <a:endParaRPr lang="ru-RU" dirty="0"/>
          </a:p>
        </p:txBody>
      </p:sp>
      <p:sp>
        <p:nvSpPr>
          <p:cNvPr id="5" name="Диаграмма 4"/>
          <p:cNvSpPr>
            <a:spLocks noGrp="1"/>
          </p:cNvSpPr>
          <p:nvPr>
            <p:ph type="chart" sz="quarter" idx="11"/>
          </p:nvPr>
        </p:nvSpPr>
        <p:spPr>
          <a:xfrm>
            <a:off x="179391" y="1628777"/>
            <a:ext cx="8713787" cy="4248497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107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idge slide v.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0"/>
          </p:nvPr>
        </p:nvSpPr>
        <p:spPr>
          <a:xfrm>
            <a:off x="250825" y="1989138"/>
            <a:ext cx="8642350" cy="446405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884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Ход реализации проек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аблица 18"/>
          <p:cNvSpPr>
            <a:spLocks noGrp="1"/>
          </p:cNvSpPr>
          <p:nvPr>
            <p:ph type="tbl" sz="quarter" idx="11"/>
          </p:nvPr>
        </p:nvSpPr>
        <p:spPr>
          <a:xfrm>
            <a:off x="251523" y="1700363"/>
            <a:ext cx="8641655" cy="4752975"/>
          </a:xfrm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0"/>
          </p:nvPr>
        </p:nvSpPr>
        <p:spPr>
          <a:xfrm>
            <a:off x="1042218" y="1700386"/>
            <a:ext cx="7850262" cy="4752950"/>
          </a:xfrm>
        </p:spPr>
        <p:txBody>
          <a:bodyPr/>
          <a:lstStyle>
            <a:lvl4pPr marL="1371600" indent="0">
              <a:buNone/>
              <a:defRPr/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xmlns="" val="13671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хема +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670"/>
            <a:ext cx="7653240" cy="76914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имум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sz="quarter" idx="11"/>
          </p:nvPr>
        </p:nvSpPr>
        <p:spPr>
          <a:xfrm>
            <a:off x="900113" y="2852942"/>
            <a:ext cx="7343775" cy="3455789"/>
          </a:xfrm>
        </p:spPr>
        <p:txBody>
          <a:bodyPr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8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899592" y="1124751"/>
            <a:ext cx="7344816" cy="360039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899594" y="1700810"/>
            <a:ext cx="2232248" cy="720079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449855" y="1700810"/>
            <a:ext cx="2232248" cy="720079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4" hasCustomPrompt="1"/>
          </p:nvPr>
        </p:nvSpPr>
        <p:spPr>
          <a:xfrm>
            <a:off x="6012160" y="1700810"/>
            <a:ext cx="2232248" cy="720079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</p:spTree>
    <p:extLst>
      <p:ext uri="{BB962C8B-B14F-4D97-AF65-F5344CB8AC3E}">
        <p14:creationId xmlns:p14="http://schemas.microsoft.com/office/powerpoint/2010/main" xmlns="" val="2115490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74" y="260648"/>
            <a:ext cx="7440162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baseline="0" dirty="0"/>
            </a:lvl1pPr>
          </a:lstStyle>
          <a:p>
            <a:r>
              <a:rPr lang="ru-RU" dirty="0" smtClean="0"/>
              <a:t>Заголовок - выводы </a:t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жирный шрифт, RGB 0-103-54, макс. 2 строк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185056" y="1268414"/>
            <a:ext cx="8707429" cy="4896890"/>
          </a:xfrm>
        </p:spPr>
        <p:txBody>
          <a:bodyPr/>
          <a:lstStyle>
            <a:lvl1pPr>
              <a:buClr>
                <a:srgbClr val="88BB43"/>
              </a:buClr>
              <a:buSzPct val="120000"/>
              <a:defRPr/>
            </a:lvl1pPr>
            <a:lvl2pPr>
              <a:defRPr/>
            </a:lvl2pPr>
            <a:lvl3pPr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smtClean="0"/>
              <a:t>Пример текста</a:t>
            </a:r>
          </a:p>
          <a:p>
            <a:pPr lvl="1"/>
            <a:r>
              <a:rPr lang="ru-RU" dirty="0" smtClean="0"/>
              <a:t>Текст второго уровня</a:t>
            </a:r>
          </a:p>
          <a:p>
            <a:pPr lvl="2"/>
            <a:r>
              <a:rPr lang="en-US" dirty="0" smtClean="0"/>
              <a:t>- </a:t>
            </a:r>
            <a:r>
              <a:rPr lang="ru-RU" dirty="0" smtClean="0"/>
              <a:t>Текст третьего уровня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468319" y="6381762"/>
            <a:ext cx="4391025" cy="460375"/>
          </a:xfrm>
        </p:spPr>
        <p:txBody>
          <a:bodyPr/>
          <a:lstStyle>
            <a:lvl1pPr>
              <a:buNone/>
              <a:defRPr sz="800" i="1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3356446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24750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4932040" y="1628800"/>
            <a:ext cx="3961134" cy="4392588"/>
          </a:xfrm>
        </p:spPr>
        <p:txBody>
          <a:bodyPr/>
          <a:lstStyle>
            <a:lvl4pPr marL="1371600" indent="0">
              <a:buNone/>
              <a:defRPr/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/>
          </p:nvPr>
        </p:nvSpPr>
        <p:spPr>
          <a:xfrm>
            <a:off x="250828" y="1628800"/>
            <a:ext cx="4321175" cy="4392588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40" y="1124746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xmlns="" val="3371525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диаграммы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96758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4932040" y="1700808"/>
            <a:ext cx="3961134" cy="4176564"/>
          </a:xfrm>
        </p:spPr>
        <p:txBody>
          <a:bodyPr/>
          <a:lstStyle>
            <a:lvl4pPr marL="1371600" indent="0">
              <a:buNone/>
              <a:defRPr/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/>
          </p:nvPr>
        </p:nvSpPr>
        <p:spPr>
          <a:xfrm>
            <a:off x="250828" y="1628800"/>
            <a:ext cx="4321175" cy="1872208"/>
          </a:xfrm>
        </p:spPr>
        <p:txBody>
          <a:bodyPr/>
          <a:lstStyle/>
          <a:p>
            <a:endParaRPr lang="ru-RU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18"/>
            <a:ext cx="4248472" cy="38404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/>
          </p:nvPr>
        </p:nvSpPr>
        <p:spPr>
          <a:xfrm>
            <a:off x="251523" y="4005064"/>
            <a:ext cx="4321175" cy="1872208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932040" y="1214278"/>
            <a:ext cx="3960440" cy="384042"/>
          </a:xfrm>
        </p:spPr>
        <p:txBody>
          <a:bodyPr anchor="ctr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xmlns="" val="1806232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диаграммы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0" y="1196752"/>
            <a:ext cx="4248000" cy="2376264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1"/>
          </p:nvPr>
        </p:nvSpPr>
        <p:spPr>
          <a:xfrm>
            <a:off x="4629021" y="1628800"/>
            <a:ext cx="4249166" cy="1872208"/>
          </a:xfrm>
        </p:spPr>
        <p:txBody>
          <a:bodyPr/>
          <a:lstStyle>
            <a:lvl4pPr marL="1371600" indent="0">
              <a:buNone/>
              <a:defRPr/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2"/>
          </p:nvPr>
        </p:nvSpPr>
        <p:spPr>
          <a:xfrm>
            <a:off x="250825" y="1628800"/>
            <a:ext cx="4248000" cy="1872208"/>
          </a:xfrm>
        </p:spPr>
        <p:txBody>
          <a:bodyPr/>
          <a:lstStyle/>
          <a:p>
            <a:endParaRPr lang="ru-RU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252215" y="3573016"/>
            <a:ext cx="4248000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/>
          </p:nvPr>
        </p:nvSpPr>
        <p:spPr>
          <a:xfrm>
            <a:off x="251521" y="4005064"/>
            <a:ext cx="4248000" cy="1872208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1755" y="1214278"/>
            <a:ext cx="4248000" cy="2358738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lang="ru-RU" sz="1800" b="1" kern="1200" baseline="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Заголовок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4644010" y="3573016"/>
            <a:ext cx="4248472" cy="2304256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/>
          </p:nvPr>
        </p:nvSpPr>
        <p:spPr>
          <a:xfrm>
            <a:off x="4643313" y="4005064"/>
            <a:ext cx="4249167" cy="1872208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78307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idx="13" hasCustomPrompt="1"/>
          </p:nvPr>
        </p:nvSpPr>
        <p:spPr>
          <a:xfrm>
            <a:off x="3141580" y="1275881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9" name="Диаграмма 10"/>
          <p:cNvSpPr>
            <a:spLocks noGrp="1"/>
          </p:cNvSpPr>
          <p:nvPr>
            <p:ph type="chart" sz="quarter" idx="14"/>
          </p:nvPr>
        </p:nvSpPr>
        <p:spPr>
          <a:xfrm>
            <a:off x="3140886" y="1976619"/>
            <a:ext cx="2880320" cy="3475720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6000747" y="1275881"/>
            <a:ext cx="288064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13" name="Диаграмма 10"/>
          <p:cNvSpPr>
            <a:spLocks noGrp="1"/>
          </p:cNvSpPr>
          <p:nvPr>
            <p:ph type="chart" sz="quarter" idx="16"/>
          </p:nvPr>
        </p:nvSpPr>
        <p:spPr>
          <a:xfrm>
            <a:off x="6009100" y="1976619"/>
            <a:ext cx="2881112" cy="347572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37224" y="1268766"/>
            <a:ext cx="2880320" cy="4277809"/>
          </a:xfrm>
          <a:ln>
            <a:solidFill>
              <a:schemeClr val="tx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8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 диаграммы</a:t>
            </a:r>
          </a:p>
        </p:txBody>
      </p:sp>
      <p:sp>
        <p:nvSpPr>
          <p:cNvPr id="15" name="Диаграмма 10"/>
          <p:cNvSpPr>
            <a:spLocks noGrp="1"/>
          </p:cNvSpPr>
          <p:nvPr>
            <p:ph type="chart" sz="quarter" idx="18"/>
          </p:nvPr>
        </p:nvSpPr>
        <p:spPr>
          <a:xfrm>
            <a:off x="236533" y="1969504"/>
            <a:ext cx="2880320" cy="347572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41017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670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5114432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витие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1187627" y="5192421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670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8" name="Текст 6"/>
          <p:cNvSpPr>
            <a:spLocks noGrp="1"/>
          </p:cNvSpPr>
          <p:nvPr>
            <p:ph type="body" sz="quarter" idx="11"/>
          </p:nvPr>
        </p:nvSpPr>
        <p:spPr>
          <a:xfrm>
            <a:off x="3775822" y="5177984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2"/>
          </p:nvPr>
        </p:nvSpPr>
        <p:spPr>
          <a:xfrm>
            <a:off x="6376296" y="5177984"/>
            <a:ext cx="2516187" cy="140493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3"/>
          </p:nvPr>
        </p:nvSpPr>
        <p:spPr>
          <a:xfrm>
            <a:off x="1187623" y="1793602"/>
            <a:ext cx="7705551" cy="3313088"/>
          </a:xfrm>
        </p:spPr>
        <p:txBody>
          <a:bodyPr/>
          <a:lstStyle/>
          <a:p>
            <a:endParaRPr lang="ru-RU"/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50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заголовка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одна строка</a:t>
            </a:r>
            <a:r>
              <a:rPr lang="en-US" dirty="0" smtClean="0"/>
              <a:t> </a:t>
            </a:r>
            <a:r>
              <a:rPr lang="ru-RU" dirty="0" smtClean="0"/>
              <a:t>выравнивание по левому краю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446048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и KP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670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4" hasCustomPrompt="1"/>
          </p:nvPr>
        </p:nvSpPr>
        <p:spPr>
          <a:xfrm>
            <a:off x="179512" y="1124750"/>
            <a:ext cx="8712968" cy="480053"/>
          </a:xfrm>
        </p:spPr>
        <p:txBody>
          <a:bodyPr>
            <a:noAutofit/>
          </a:bodyPr>
          <a:lstStyle>
            <a:lvl1pPr marL="0" indent="0" algn="l">
              <a:buNone/>
              <a:defRPr sz="1800" b="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заголовка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одна строка</a:t>
            </a:r>
            <a:r>
              <a:rPr lang="en-US" dirty="0" smtClean="0"/>
              <a:t> </a:t>
            </a:r>
            <a:r>
              <a:rPr lang="ru-RU" dirty="0" smtClean="0"/>
              <a:t>выравнивание по левому краю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/>
          </p:nvPr>
        </p:nvSpPr>
        <p:spPr>
          <a:xfrm>
            <a:off x="250825" y="1700213"/>
            <a:ext cx="8066088" cy="4608512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125572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670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13" name="Таблица 12"/>
          <p:cNvSpPr>
            <a:spLocks noGrp="1"/>
          </p:cNvSpPr>
          <p:nvPr>
            <p:ph type="tbl" sz="quarter" idx="15"/>
          </p:nvPr>
        </p:nvSpPr>
        <p:spPr>
          <a:xfrm>
            <a:off x="250827" y="1124747"/>
            <a:ext cx="8641655" cy="5183981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282290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ыводы и заключ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9120" y="128670"/>
            <a:ext cx="7437216" cy="76914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251522" y="1124751"/>
            <a:ext cx="288032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4" name="Текст 2"/>
          <p:cNvSpPr>
            <a:spLocks noGrp="1"/>
          </p:cNvSpPr>
          <p:nvPr>
            <p:ph type="body" idx="12" hasCustomPrompt="1"/>
          </p:nvPr>
        </p:nvSpPr>
        <p:spPr>
          <a:xfrm>
            <a:off x="251522" y="170081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7" name="Текст 2"/>
          <p:cNvSpPr>
            <a:spLocks noGrp="1"/>
          </p:cNvSpPr>
          <p:nvPr>
            <p:ph type="body" idx="14"/>
          </p:nvPr>
        </p:nvSpPr>
        <p:spPr>
          <a:xfrm>
            <a:off x="3851920" y="2063790"/>
            <a:ext cx="5040560" cy="1077178"/>
          </a:xfrm>
          <a:solidFill>
            <a:schemeClr val="bg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ru-RU" dirty="0" smtClean="0"/>
          </a:p>
        </p:txBody>
      </p:sp>
      <p:sp>
        <p:nvSpPr>
          <p:cNvPr id="8" name="Текст 2"/>
          <p:cNvSpPr>
            <a:spLocks noGrp="1"/>
          </p:cNvSpPr>
          <p:nvPr>
            <p:ph type="body" idx="15" hasCustomPrompt="1"/>
          </p:nvPr>
        </p:nvSpPr>
        <p:spPr>
          <a:xfrm>
            <a:off x="3851920" y="1124750"/>
            <a:ext cx="5040560" cy="432047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idx="16" hasCustomPrompt="1"/>
          </p:nvPr>
        </p:nvSpPr>
        <p:spPr>
          <a:xfrm>
            <a:off x="251522" y="2678942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1522" y="367206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51522" y="4680174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251522" y="5676240"/>
            <a:ext cx="2880320" cy="864094"/>
          </a:xfrm>
          <a:solidFill>
            <a:schemeClr val="accent6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851920" y="1700808"/>
            <a:ext cx="5040560" cy="360040"/>
          </a:xfr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21"/>
          </p:nvPr>
        </p:nvSpPr>
        <p:spPr>
          <a:xfrm>
            <a:off x="3851920" y="3762002"/>
            <a:ext cx="5040560" cy="1077178"/>
          </a:xfrm>
          <a:solidFill>
            <a:schemeClr val="bg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ru-RU" dirty="0" smtClean="0"/>
          </a:p>
        </p:txBody>
      </p:sp>
      <p:sp>
        <p:nvSpPr>
          <p:cNvPr id="15" name="Текст 2"/>
          <p:cNvSpPr>
            <a:spLocks noGrp="1"/>
          </p:cNvSpPr>
          <p:nvPr>
            <p:ph type="body" idx="22" hasCustomPrompt="1"/>
          </p:nvPr>
        </p:nvSpPr>
        <p:spPr>
          <a:xfrm>
            <a:off x="3851920" y="3399020"/>
            <a:ext cx="5040560" cy="360040"/>
          </a:xfr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3"/>
          </p:nvPr>
        </p:nvSpPr>
        <p:spPr>
          <a:xfrm>
            <a:off x="3851920" y="5448166"/>
            <a:ext cx="5040560" cy="1077178"/>
          </a:xfrm>
          <a:solidFill>
            <a:schemeClr val="bg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6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ru-RU" dirty="0" smtClean="0"/>
          </a:p>
        </p:txBody>
      </p:sp>
      <p:sp>
        <p:nvSpPr>
          <p:cNvPr id="17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3851920" y="5085184"/>
            <a:ext cx="5040560" cy="360040"/>
          </a:xfr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none"/>
        </p:style>
        <p:txBody>
          <a:bodyPr anchor="ctr">
            <a:noAutofit/>
          </a:bodyPr>
          <a:lstStyle>
            <a:lvl1pPr marL="0" indent="0" algn="ctr">
              <a:buNone/>
              <a:defRPr sz="1800" b="1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Название</a:t>
            </a:r>
          </a:p>
        </p:txBody>
      </p:sp>
    </p:spTree>
    <p:extLst>
      <p:ext uri="{BB962C8B-B14F-4D97-AF65-F5344CB8AC3E}">
        <p14:creationId xmlns:p14="http://schemas.microsoft.com/office/powerpoint/2010/main" xmlns="" val="21862251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OBLOJKA_2_ang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2" descr="C:\Users\Мокшина Наталья\Desktop\dlinn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31434" y="4581130"/>
            <a:ext cx="5112568" cy="837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04789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eatse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32624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550829" y="5013325"/>
            <a:ext cx="4876397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’ nam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en-US" dirty="0" smtClean="0"/>
              <a:t>Speaker’ title 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7546" y="442784"/>
            <a:ext cx="1152128" cy="480985"/>
          </a:xfrm>
          <a:prstGeom prst="rect">
            <a:avLst/>
          </a:prstGeom>
        </p:spPr>
      </p:pic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096451" y="6165850"/>
            <a:ext cx="2808287" cy="692150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448625" y="692150"/>
            <a:ext cx="2978578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16803" y="3500439"/>
            <a:ext cx="7704138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245347" y="3716392"/>
            <a:ext cx="7181850" cy="1296987"/>
          </a:xfrm>
        </p:spPr>
        <p:txBody>
          <a:bodyPr anchor="t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-title in Title Case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12351" y="2565400"/>
            <a:ext cx="7414846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Title in Title Case (Arial 24 pt Bold, RGB 0-103-54)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759635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74" y="260648"/>
            <a:ext cx="7440162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dirty="0"/>
            </a:lvl1pPr>
          </a:lstStyle>
          <a:p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506413" y="1268414"/>
            <a:ext cx="8169276" cy="4392612"/>
          </a:xfrm>
        </p:spPr>
        <p:txBody>
          <a:bodyPr/>
          <a:lstStyle>
            <a:lvl1pPr marL="250587" indent="-250587"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2"/>
              </a:buClr>
              <a:buSzPct val="120000"/>
              <a:defRPr/>
            </a:lvl2pPr>
            <a:lvl3pPr>
              <a:defRPr>
                <a:solidFill>
                  <a:schemeClr val="tx1"/>
                </a:solidFill>
              </a:defRPr>
            </a:lvl3pPr>
            <a:lvl4pPr marL="1266124" indent="0">
              <a:buNone/>
              <a:defRPr/>
            </a:lvl4pPr>
            <a:lvl5pPr marL="1688165" indent="0">
              <a:buNone/>
              <a:defRPr/>
            </a:lvl5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507023" y="6381752"/>
            <a:ext cx="4352316" cy="460375"/>
          </a:xfrm>
        </p:spPr>
        <p:txBody>
          <a:bodyPr/>
          <a:lstStyle>
            <a:lvl1pPr marL="0" indent="0" algn="l">
              <a:buNone/>
              <a:defRPr sz="738" i="1" baseline="0"/>
            </a:lvl1pPr>
          </a:lstStyle>
          <a:p>
            <a:r>
              <a:rPr lang="en-US" sz="738" i="1" dirty="0" smtClean="0">
                <a:latin typeface="Arial" pitchFamily="34" charset="0"/>
                <a:cs typeface="Arial" pitchFamily="34" charset="0"/>
              </a:rPr>
              <a:t>Sources: Arial 8pt,</a:t>
            </a:r>
            <a:r>
              <a:rPr lang="ru-RU" sz="738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738" i="1" dirty="0" smtClean="0">
                <a:latin typeface="Arial" pitchFamily="34" charset="0"/>
                <a:cs typeface="Arial" pitchFamily="34" charset="0"/>
              </a:rPr>
              <a:t>Black, Italic                                                                                                        Maximum two lines. Please put it in the same place on all slides. </a:t>
            </a:r>
            <a:endParaRPr lang="ru-RU" sz="738" i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9982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p:oleObj spid="_x0000_s19659" name="Слайд think-cell" r:id="rId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74" y="260648"/>
            <a:ext cx="7440162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dirty="0"/>
            </a:lvl1pPr>
          </a:lstStyle>
          <a:p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/>
          </a:p>
        </p:txBody>
      </p:sp>
      <p:sp>
        <p:nvSpPr>
          <p:cNvPr id="7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507023" y="6381752"/>
            <a:ext cx="4352316" cy="460375"/>
          </a:xfrm>
        </p:spPr>
        <p:txBody>
          <a:bodyPr/>
          <a:lstStyle>
            <a:lvl1pPr marL="0" indent="0" algn="l">
              <a:buNone/>
              <a:defRPr sz="738" i="1" baseline="0"/>
            </a:lvl1pPr>
          </a:lstStyle>
          <a:p>
            <a:r>
              <a:rPr lang="en-US" sz="738" i="1" dirty="0" smtClean="0">
                <a:latin typeface="Arial" pitchFamily="34" charset="0"/>
                <a:cs typeface="Arial" pitchFamily="34" charset="0"/>
              </a:rPr>
              <a:t>Sources: Arial 8pt,</a:t>
            </a:r>
            <a:r>
              <a:rPr lang="ru-RU" sz="738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738" i="1" dirty="0" smtClean="0">
                <a:latin typeface="Arial" pitchFamily="34" charset="0"/>
                <a:cs typeface="Arial" pitchFamily="34" charset="0"/>
              </a:rPr>
              <a:t>Black, Italic                                                                                                        Maximum two lines. Please put it in the same place on all slides. </a:t>
            </a:r>
            <a:endParaRPr lang="ru-RU" sz="738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Объект 13"/>
          <p:cNvSpPr>
            <a:spLocks noGrp="1"/>
          </p:cNvSpPr>
          <p:nvPr>
            <p:ph sz="quarter" idx="13" hasCustomPrompt="1"/>
          </p:nvPr>
        </p:nvSpPr>
        <p:spPr>
          <a:xfrm>
            <a:off x="507024" y="1268413"/>
            <a:ext cx="8204689" cy="4392612"/>
          </a:xfrm>
        </p:spPr>
        <p:txBody>
          <a:bodyPr/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1451060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74" y="260648"/>
            <a:ext cx="7440162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dirty="0"/>
            </a:lvl1pPr>
          </a:lstStyle>
          <a:p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506413" y="1844824"/>
            <a:ext cx="8169276" cy="3816202"/>
          </a:xfrm>
        </p:spPr>
        <p:txBody>
          <a:bodyPr/>
          <a:lstStyle>
            <a:lvl1pPr>
              <a:buClr>
                <a:schemeClr val="accent2"/>
              </a:buClr>
              <a:buSzPct val="120000"/>
              <a:defRPr/>
            </a:lvl1pPr>
            <a:lvl2pPr>
              <a:buClr>
                <a:schemeClr val="accent2"/>
              </a:buClr>
              <a:buSzPct val="120000"/>
              <a:defRPr/>
            </a:lvl2pPr>
            <a:lvl3pPr>
              <a:defRPr>
                <a:solidFill>
                  <a:schemeClr val="tx1"/>
                </a:solidFill>
              </a:defRPr>
            </a:lvl3pPr>
            <a:lvl4pPr marL="1266124" indent="0">
              <a:buNone/>
              <a:defRPr/>
            </a:lvl4pPr>
            <a:lvl5pPr marL="1688165" indent="0">
              <a:buNone/>
              <a:defRPr/>
            </a:lvl5pPr>
          </a:lstStyle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17281" y="1196975"/>
            <a:ext cx="8175380" cy="503238"/>
          </a:xfrm>
        </p:spPr>
        <p:txBody>
          <a:bodyPr>
            <a:normAutofit/>
          </a:bodyPr>
          <a:lstStyle>
            <a:lvl1pPr marL="0" indent="0">
              <a:buNone/>
              <a:defRPr sz="1477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Headline</a:t>
            </a:r>
            <a:r>
              <a:rPr lang="ru-RU" dirty="0" smtClean="0"/>
              <a:t>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endParaRPr lang="ru-RU" dirty="0"/>
          </a:p>
        </p:txBody>
      </p:sp>
      <p:sp>
        <p:nvSpPr>
          <p:cNvPr id="7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507023" y="6381752"/>
            <a:ext cx="4352316" cy="460375"/>
          </a:xfrm>
        </p:spPr>
        <p:txBody>
          <a:bodyPr/>
          <a:lstStyle>
            <a:lvl1pPr marL="0" indent="0" algn="l">
              <a:buNone/>
              <a:defRPr sz="738" i="1" baseline="0"/>
            </a:lvl1pPr>
          </a:lstStyle>
          <a:p>
            <a:r>
              <a:rPr lang="en-US" sz="738" i="1" dirty="0" smtClean="0">
                <a:latin typeface="Arial" pitchFamily="34" charset="0"/>
                <a:cs typeface="Arial" pitchFamily="34" charset="0"/>
              </a:rPr>
              <a:t>Sources: Arial 8pt,</a:t>
            </a:r>
            <a:r>
              <a:rPr lang="ru-RU" sz="738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738" i="1" dirty="0" smtClean="0">
                <a:latin typeface="Arial" pitchFamily="34" charset="0"/>
                <a:cs typeface="Arial" pitchFamily="34" charset="0"/>
              </a:rPr>
              <a:t>Black, Italic                                                                                                        Maximum two lines. Please put it in the same place on all slides. </a:t>
            </a:r>
            <a:endParaRPr lang="ru-RU" sz="738" i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86923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74" y="260648"/>
            <a:ext cx="7440162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dirty="0"/>
            </a:lvl1pPr>
          </a:lstStyle>
          <a:p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17281" y="1196975"/>
            <a:ext cx="8175380" cy="503238"/>
          </a:xfrm>
        </p:spPr>
        <p:txBody>
          <a:bodyPr>
            <a:normAutofit/>
          </a:bodyPr>
          <a:lstStyle>
            <a:lvl1pPr marL="0" indent="0">
              <a:buNone/>
              <a:defRPr sz="1477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Headline</a:t>
            </a:r>
            <a:r>
              <a:rPr lang="ru-RU" dirty="0" smtClean="0"/>
              <a:t> – </a:t>
            </a:r>
            <a:r>
              <a:rPr lang="en-US" dirty="0" smtClean="0"/>
              <a:t>Arial</a:t>
            </a:r>
            <a:r>
              <a:rPr lang="ru-RU" dirty="0" smtClean="0"/>
              <a:t> 18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endParaRPr lang="ru-RU" dirty="0"/>
          </a:p>
        </p:txBody>
      </p:sp>
      <p:sp>
        <p:nvSpPr>
          <p:cNvPr id="7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507023" y="6381752"/>
            <a:ext cx="4352316" cy="460375"/>
          </a:xfrm>
        </p:spPr>
        <p:txBody>
          <a:bodyPr/>
          <a:lstStyle>
            <a:lvl1pPr marL="0" indent="0" algn="l">
              <a:buNone/>
              <a:defRPr sz="738" i="1" baseline="0"/>
            </a:lvl1pPr>
          </a:lstStyle>
          <a:p>
            <a:r>
              <a:rPr lang="en-US" sz="738" i="1" dirty="0" smtClean="0">
                <a:latin typeface="Arial" pitchFamily="34" charset="0"/>
                <a:cs typeface="Arial" pitchFamily="34" charset="0"/>
              </a:rPr>
              <a:t>Sources: Arial 8pt,</a:t>
            </a:r>
            <a:r>
              <a:rPr lang="ru-RU" sz="738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738" i="1" dirty="0" smtClean="0">
                <a:latin typeface="Arial" pitchFamily="34" charset="0"/>
                <a:cs typeface="Arial" pitchFamily="34" charset="0"/>
              </a:rPr>
              <a:t>Black, Italic                                                                                                        Maximum two lines. Please put it in the same place on all slides. </a:t>
            </a:r>
            <a:endParaRPr lang="ru-RU" sz="738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sz="quarter" idx="14" hasCustomPrompt="1"/>
          </p:nvPr>
        </p:nvSpPr>
        <p:spPr>
          <a:xfrm>
            <a:off x="507024" y="1844675"/>
            <a:ext cx="8204689" cy="3816350"/>
          </a:xfrm>
        </p:spPr>
        <p:txBody>
          <a:bodyPr/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  <a:endParaRPr lang="ru-RU" dirty="0" smtClean="0"/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299465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eatse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327884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OBLOJKA_3_rus_3_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9928"/>
            <a:ext cx="9144000" cy="688538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995937" y="1484784"/>
            <a:ext cx="4896544" cy="2304256"/>
          </a:xfrm>
        </p:spPr>
        <p:txBody>
          <a:bodyPr>
            <a:normAutofit/>
          </a:bodyPr>
          <a:lstStyle>
            <a:lvl1pPr marL="0" algn="l" defTabSz="844083" rtl="0" eaLnBrk="1" latinLnBrk="0" hangingPunct="1">
              <a:defRPr lang="ru-RU" sz="2400" b="1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ru-RU" dirty="0" smtClean="0"/>
              <a:t>Название презентации (шрифт </a:t>
            </a:r>
            <a:r>
              <a:rPr lang="ru-RU" dirty="0" err="1" smtClean="0"/>
              <a:t>Arial</a:t>
            </a:r>
            <a:r>
              <a:rPr lang="ru-RU" dirty="0" smtClean="0"/>
              <a:t> 26 </a:t>
            </a:r>
            <a:r>
              <a:rPr lang="ru-RU" dirty="0" err="1" smtClean="0"/>
              <a:t>пт</a:t>
            </a:r>
            <a:r>
              <a:rPr lang="ru-RU" dirty="0" smtClean="0"/>
              <a:t> жирный, 3 строки максимум)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95937" y="3717033"/>
            <a:ext cx="4898101" cy="86409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77" baseline="0">
                <a:solidFill>
                  <a:schemeClr val="bg1"/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Имя Фамилия </a:t>
            </a:r>
            <a:br>
              <a:rPr lang="ru-RU" dirty="0" smtClean="0"/>
            </a:br>
            <a:r>
              <a:rPr lang="ru-RU" dirty="0" smtClean="0"/>
              <a:t>Должность выступающего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091385" y="4581129"/>
            <a:ext cx="3288928" cy="864096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>
                <a:solidFill>
                  <a:srgbClr val="FFFFFF"/>
                </a:solidFill>
                <a:latin typeface="Arial"/>
                <a:cs typeface="Arial"/>
              </a:rPr>
              <a:t>Дата </a:t>
            </a:r>
            <a:br>
              <a:rPr lang="ru-RU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ru-RU" dirty="0" smtClean="0">
                <a:solidFill>
                  <a:srgbClr val="FFFFFF"/>
                </a:solidFill>
                <a:latin typeface="Arial"/>
                <a:cs typeface="Arial"/>
              </a:rPr>
              <a:t>Место</a:t>
            </a:r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 (Arial </a:t>
            </a:r>
            <a:r>
              <a:rPr lang="ru-RU" dirty="0" smtClean="0">
                <a:solidFill>
                  <a:srgbClr val="FFFFFF"/>
                </a:solidFill>
                <a:latin typeface="Arial"/>
                <a:cs typeface="Arial"/>
              </a:rPr>
              <a:t>13</a:t>
            </a:r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ru-RU" dirty="0" err="1" smtClean="0">
                <a:solidFill>
                  <a:srgbClr val="FFFFFF"/>
                </a:solidFill>
                <a:latin typeface="Arial"/>
                <a:cs typeface="Arial"/>
              </a:rPr>
              <a:t>пт</a:t>
            </a:r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, </a:t>
            </a:r>
            <a:r>
              <a:rPr lang="ru-RU" dirty="0" smtClean="0">
                <a:solidFill>
                  <a:srgbClr val="FFFFFF"/>
                </a:solidFill>
                <a:latin typeface="Arial"/>
                <a:cs typeface="Arial"/>
              </a:rPr>
              <a:t>по желанию</a:t>
            </a:r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xmlns="" val="1996457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74" y="260648"/>
            <a:ext cx="7440162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190196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550826" y="5013325"/>
            <a:ext cx="4876397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lnSpc>
                <a:spcPts val="1477"/>
              </a:lnSpc>
              <a:spcBef>
                <a:spcPts val="0"/>
              </a:spcBef>
              <a:buNone/>
              <a:defRPr sz="1108" baseline="0">
                <a:solidFill>
                  <a:schemeClr val="bg2">
                    <a:lumMod val="50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’ name (Arial 1</a:t>
            </a:r>
            <a:r>
              <a:rPr lang="ru-RU" dirty="0"/>
              <a:t>2</a:t>
            </a:r>
            <a:r>
              <a:rPr lang="en-US" dirty="0"/>
              <a:t> </a:t>
            </a:r>
            <a:r>
              <a:rPr lang="en-US" dirty="0" err="1"/>
              <a:t>pt</a:t>
            </a:r>
            <a:r>
              <a:rPr lang="en-US" dirty="0"/>
              <a:t>)</a:t>
            </a:r>
            <a:br>
              <a:rPr lang="en-US" dirty="0"/>
            </a:br>
            <a:r>
              <a:rPr lang="en-US" dirty="0"/>
              <a:t>Speaker’ title (Arial 1</a:t>
            </a:r>
            <a:r>
              <a:rPr lang="ru-RU" dirty="0"/>
              <a:t>2</a:t>
            </a:r>
            <a:r>
              <a:rPr lang="en-US" dirty="0"/>
              <a:t> </a:t>
            </a:r>
            <a:r>
              <a:rPr lang="en-US" dirty="0" err="1"/>
              <a:t>pt</a:t>
            </a:r>
            <a:r>
              <a:rPr lang="en-US" dirty="0"/>
              <a:t>)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67546" y="442779"/>
            <a:ext cx="1152128" cy="480985"/>
          </a:xfrm>
          <a:prstGeom prst="rect">
            <a:avLst/>
          </a:prstGeom>
        </p:spPr>
      </p:pic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096448" y="6165850"/>
            <a:ext cx="2808287" cy="6921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969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448625" y="692150"/>
            <a:ext cx="2978578" cy="165673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16803" y="3500439"/>
            <a:ext cx="7704138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245347" y="3716387"/>
            <a:ext cx="7181850" cy="129698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31"/>
              </a:spcAft>
              <a:buClrTx/>
              <a:buSzTx/>
              <a:buFont typeface="Arial" pitchFamily="34" charset="0"/>
              <a:buNone/>
              <a:tabLst/>
              <a:defRPr sz="1662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31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-title in Title Case </a:t>
            </a:r>
            <a:r>
              <a:rPr lang="en-US" dirty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12351" y="2565400"/>
            <a:ext cx="7414846" cy="935038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buNone/>
              <a:defRPr sz="2215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Title in Title Case (Arial 24 pt Bold, RGB 0-103-54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923549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fld id="{A2BCCE07-10F7-4E8D-916B-88905207747D}" type="datetimeFigureOut">
              <a:rPr lang="ru-RU" smtClean="0"/>
              <a:pPr/>
              <a:t>24.0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fld id="{EF08D63B-C169-4A3C-A22A-42F099E4750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45944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550804" y="5013325"/>
            <a:ext cx="4876397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Имя выступающего </a:t>
            </a:r>
            <a:r>
              <a:rPr lang="en-US" dirty="0" smtClean="0"/>
              <a:t>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ru-RU" dirty="0" smtClean="0"/>
              <a:t>Должность выступающего </a:t>
            </a:r>
            <a:r>
              <a:rPr lang="en-US" dirty="0" smtClean="0"/>
              <a:t>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096426" y="6165850"/>
            <a:ext cx="2808287" cy="692150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448623" y="692150"/>
            <a:ext cx="2978578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16803" y="3500439"/>
            <a:ext cx="7704138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245347" y="3716344"/>
            <a:ext cx="7181850" cy="1296987"/>
          </a:xfrm>
        </p:spPr>
        <p:txBody>
          <a:bodyPr anchor="t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Подзаголовок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12351" y="2565400"/>
            <a:ext cx="7414846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r>
              <a:rPr lang="ru-RU" dirty="0" smtClean="0"/>
              <a:t>Заголовок </a:t>
            </a:r>
            <a:r>
              <a:rPr lang="ru-RU" b="1" dirty="0" smtClean="0"/>
              <a:t>т</a:t>
            </a:r>
            <a:r>
              <a:rPr lang="en-US" b="1" dirty="0" err="1" smtClean="0"/>
              <a:t>итульн</a:t>
            </a:r>
            <a:r>
              <a:rPr lang="ru-RU" b="1" dirty="0" smtClean="0"/>
              <a:t>ого</a:t>
            </a:r>
            <a:r>
              <a:rPr lang="en-US" b="1" dirty="0" smtClean="0"/>
              <a:t> </a:t>
            </a:r>
            <a:r>
              <a:rPr lang="en-US" b="1" dirty="0" err="1" smtClean="0"/>
              <a:t>слайд</a:t>
            </a:r>
            <a:r>
              <a:rPr lang="ru-RU" b="1" dirty="0" smtClean="0"/>
              <a:t>а</a:t>
            </a:r>
            <a:r>
              <a:rPr lang="en-US" b="1" dirty="0" smtClean="0"/>
              <a:t>:</a:t>
            </a:r>
          </a:p>
          <a:p>
            <a:r>
              <a:rPr lang="en-US" dirty="0" smtClean="0"/>
              <a:t>(Arial 24 </a:t>
            </a:r>
            <a:r>
              <a:rPr lang="ru-RU" dirty="0" err="1" smtClean="0"/>
              <a:t>пт</a:t>
            </a:r>
            <a:r>
              <a:rPr lang="en-US" dirty="0" smtClean="0"/>
              <a:t>, RGB 0-103-54)</a:t>
            </a:r>
            <a:endParaRPr lang="ru-RU" dirty="0" smtClean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17399" y="663422"/>
            <a:ext cx="1246401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28012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74" y="260648"/>
            <a:ext cx="7440162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baseline="0" dirty="0"/>
            </a:lvl1pPr>
          </a:lstStyle>
          <a:p>
            <a:r>
              <a:rPr lang="ru-RU" dirty="0" smtClean="0"/>
              <a:t>Заголовок - выводы </a:t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жирный шрифт, RGB 0-103-54, макс. 2 строк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185058" y="1268414"/>
            <a:ext cx="8707429" cy="4896890"/>
          </a:xfrm>
        </p:spPr>
        <p:txBody>
          <a:bodyPr/>
          <a:lstStyle>
            <a:lvl1pPr>
              <a:buClr>
                <a:srgbClr val="88BB43"/>
              </a:buClr>
              <a:buSzPct val="120000"/>
              <a:defRPr/>
            </a:lvl1pPr>
            <a:lvl2pPr>
              <a:defRPr/>
            </a:lvl2pPr>
            <a:lvl3pPr>
              <a:defRPr/>
            </a:lvl3pPr>
            <a:lvl4pPr marL="1266124" indent="0">
              <a:buNone/>
              <a:defRPr/>
            </a:lvl4pPr>
            <a:lvl5pPr marL="1688165" indent="0">
              <a:buNone/>
              <a:defRPr/>
            </a:lvl5pPr>
          </a:lstStyle>
          <a:p>
            <a:pPr lvl="0"/>
            <a:r>
              <a:rPr lang="ru-RU" dirty="0" smtClean="0"/>
              <a:t>Пример текста</a:t>
            </a:r>
          </a:p>
          <a:p>
            <a:pPr lvl="1"/>
            <a:r>
              <a:rPr lang="ru-RU" dirty="0" smtClean="0"/>
              <a:t>Текст второго уровня</a:t>
            </a:r>
          </a:p>
          <a:p>
            <a:pPr lvl="2"/>
            <a:r>
              <a:rPr lang="en-US" dirty="0" smtClean="0"/>
              <a:t>- </a:t>
            </a:r>
            <a:r>
              <a:rPr lang="ru-RU" dirty="0" smtClean="0"/>
              <a:t>Текст третьего уровня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468320" y="6382230"/>
            <a:ext cx="4391025" cy="460375"/>
          </a:xfrm>
        </p:spPr>
        <p:txBody>
          <a:bodyPr/>
          <a:lstStyle>
            <a:lvl1pPr>
              <a:buNone/>
              <a:defRPr sz="738" i="1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3614966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eatse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236527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74" y="260648"/>
            <a:ext cx="7440162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baseline="0" dirty="0"/>
            </a:lvl1pPr>
          </a:lstStyle>
          <a:p>
            <a:r>
              <a:rPr lang="ru-RU" dirty="0" smtClean="0"/>
              <a:t>Заголовок - выводы </a:t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жирный шрифт, RGB 0-103-54, макс. 2 строк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185054" y="1268414"/>
            <a:ext cx="8707429" cy="4896890"/>
          </a:xfrm>
        </p:spPr>
        <p:txBody>
          <a:bodyPr/>
          <a:lstStyle>
            <a:lvl1pPr>
              <a:buClr>
                <a:srgbClr val="88BB43"/>
              </a:buClr>
              <a:buSzPct val="120000"/>
              <a:defRPr/>
            </a:lvl1pPr>
            <a:lvl2pPr>
              <a:defRPr/>
            </a:lvl2pPr>
            <a:lvl3pPr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smtClean="0"/>
              <a:t>Пример текста</a:t>
            </a:r>
          </a:p>
          <a:p>
            <a:pPr lvl="1"/>
            <a:r>
              <a:rPr lang="ru-RU" dirty="0" smtClean="0"/>
              <a:t>Текст второго уровня</a:t>
            </a:r>
          </a:p>
          <a:p>
            <a:pPr lvl="2"/>
            <a:r>
              <a:rPr lang="en-US" dirty="0" smtClean="0"/>
              <a:t>- </a:t>
            </a:r>
            <a:r>
              <a:rPr lang="ru-RU" dirty="0" smtClean="0"/>
              <a:t>Текст третьего уровня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468317" y="6381758"/>
            <a:ext cx="4391025" cy="460375"/>
          </a:xfrm>
        </p:spPr>
        <p:txBody>
          <a:bodyPr/>
          <a:lstStyle>
            <a:lvl1pPr>
              <a:buNone/>
              <a:defRPr sz="800" i="1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358936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eatse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05235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550804" y="5013325"/>
            <a:ext cx="4876397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Имя выступающего </a:t>
            </a:r>
            <a:r>
              <a:rPr lang="en-US" dirty="0" smtClean="0"/>
              <a:t>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ru-RU" dirty="0" smtClean="0"/>
              <a:t>Должность выступающего </a:t>
            </a:r>
            <a:r>
              <a:rPr lang="en-US" dirty="0" smtClean="0"/>
              <a:t>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096426" y="6165850"/>
            <a:ext cx="2808287" cy="692150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448623" y="692150"/>
            <a:ext cx="2978578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16803" y="3500439"/>
            <a:ext cx="7704138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245347" y="3716344"/>
            <a:ext cx="7181850" cy="1296987"/>
          </a:xfrm>
        </p:spPr>
        <p:txBody>
          <a:bodyPr anchor="t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Подзаголовок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12351" y="2565400"/>
            <a:ext cx="7414846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r>
              <a:rPr lang="ru-RU" dirty="0" smtClean="0"/>
              <a:t>Заголовок </a:t>
            </a:r>
            <a:r>
              <a:rPr lang="ru-RU" b="1" dirty="0" smtClean="0"/>
              <a:t>т</a:t>
            </a:r>
            <a:r>
              <a:rPr lang="en-US" b="1" dirty="0" err="1" smtClean="0"/>
              <a:t>итульн</a:t>
            </a:r>
            <a:r>
              <a:rPr lang="ru-RU" b="1" dirty="0" smtClean="0"/>
              <a:t>ого</a:t>
            </a:r>
            <a:r>
              <a:rPr lang="en-US" b="1" dirty="0" smtClean="0"/>
              <a:t> </a:t>
            </a:r>
            <a:r>
              <a:rPr lang="en-US" b="1" dirty="0" err="1" smtClean="0"/>
              <a:t>слайд</a:t>
            </a:r>
            <a:r>
              <a:rPr lang="ru-RU" b="1" dirty="0" smtClean="0"/>
              <a:t>а</a:t>
            </a:r>
            <a:r>
              <a:rPr lang="en-US" b="1" dirty="0" smtClean="0"/>
              <a:t>:</a:t>
            </a:r>
          </a:p>
          <a:p>
            <a:r>
              <a:rPr lang="en-US" dirty="0" smtClean="0"/>
              <a:t>(Arial 24 </a:t>
            </a:r>
            <a:r>
              <a:rPr lang="ru-RU" dirty="0" err="1" smtClean="0"/>
              <a:t>пт</a:t>
            </a:r>
            <a:r>
              <a:rPr lang="en-US" dirty="0" smtClean="0"/>
              <a:t>, RGB 0-103-54)</a:t>
            </a:r>
            <a:endParaRPr lang="ru-RU" dirty="0" smtClean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17399" y="663422"/>
            <a:ext cx="1246401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27266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56174" y="260648"/>
            <a:ext cx="7440162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baseline="0" dirty="0"/>
            </a:lvl1pPr>
          </a:lstStyle>
          <a:p>
            <a:r>
              <a:rPr lang="ru-RU" dirty="0" smtClean="0"/>
              <a:t>Заголовок - выводы </a:t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жирный шрифт, RGB 0-103-54, макс. 2 строк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185054" y="1268414"/>
            <a:ext cx="8707429" cy="4896890"/>
          </a:xfrm>
        </p:spPr>
        <p:txBody>
          <a:bodyPr/>
          <a:lstStyle>
            <a:lvl1pPr>
              <a:buClr>
                <a:srgbClr val="88BB43"/>
              </a:buClr>
              <a:buSzPct val="120000"/>
              <a:defRPr/>
            </a:lvl1pPr>
            <a:lvl2pPr>
              <a:defRPr/>
            </a:lvl2pPr>
            <a:lvl3pPr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smtClean="0"/>
              <a:t>Пример текста</a:t>
            </a:r>
          </a:p>
          <a:p>
            <a:pPr lvl="1"/>
            <a:r>
              <a:rPr lang="ru-RU" dirty="0" smtClean="0"/>
              <a:t>Текст второго уровня</a:t>
            </a:r>
          </a:p>
          <a:p>
            <a:pPr lvl="2"/>
            <a:r>
              <a:rPr lang="en-US" dirty="0" smtClean="0"/>
              <a:t>- </a:t>
            </a:r>
            <a:r>
              <a:rPr lang="ru-RU" dirty="0" smtClean="0"/>
              <a:t>Текст третьего уровня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468317" y="6381758"/>
            <a:ext cx="4391025" cy="460375"/>
          </a:xfrm>
        </p:spPr>
        <p:txBody>
          <a:bodyPr/>
          <a:lstStyle>
            <a:lvl1pPr>
              <a:buNone/>
              <a:defRPr sz="800" i="1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2749826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eatse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835973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1.vml"/><Relationship Id="rId10" Type="http://schemas.openxmlformats.org/officeDocument/2006/relationships/oleObject" Target="../embeddings/oleObject1.bin"/><Relationship Id="rId4" Type="http://schemas.openxmlformats.org/officeDocument/2006/relationships/theme" Target="../theme/theme1.xml"/><Relationship Id="rId9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5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2.vml"/><Relationship Id="rId10" Type="http://schemas.openxmlformats.org/officeDocument/2006/relationships/oleObject" Target="../embeddings/oleObject2.bin"/><Relationship Id="rId4" Type="http://schemas.openxmlformats.org/officeDocument/2006/relationships/theme" Target="../theme/theme2.xml"/><Relationship Id="rId9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9.xml"/><Relationship Id="rId11" Type="http://schemas.openxmlformats.org/officeDocument/2006/relationships/image" Target="../media/image2.jpeg"/><Relationship Id="rId5" Type="http://schemas.openxmlformats.org/officeDocument/2006/relationships/vmlDrawing" Target="../drawings/vmlDrawing3.vml"/><Relationship Id="rId10" Type="http://schemas.openxmlformats.org/officeDocument/2006/relationships/oleObject" Target="../embeddings/oleObject3.bin"/><Relationship Id="rId4" Type="http://schemas.openxmlformats.org/officeDocument/2006/relationships/theme" Target="../theme/theme3.xml"/><Relationship Id="rId9" Type="http://schemas.openxmlformats.org/officeDocument/2006/relationships/tags" Target="../tags/tag1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2.xml"/><Relationship Id="rId21" Type="http://schemas.openxmlformats.org/officeDocument/2006/relationships/slideLayout" Target="../slideLayouts/slideLayout30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35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8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heme" Target="../theme/theme6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ags" Target="../tags/tag15.xml"/><Relationship Id="rId11" Type="http://schemas.openxmlformats.org/officeDocument/2006/relationships/image" Target="../media/image9.jpeg"/><Relationship Id="rId5" Type="http://schemas.openxmlformats.org/officeDocument/2006/relationships/tags" Target="../tags/tag14.xml"/><Relationship Id="rId10" Type="http://schemas.openxmlformats.org/officeDocument/2006/relationships/oleObject" Target="../embeddings/oleObject6.bin"/><Relationship Id="rId4" Type="http://schemas.openxmlformats.org/officeDocument/2006/relationships/vmlDrawing" Target="../drawings/vmlDrawing6.vml"/><Relationship Id="rId9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/>
        </p:nvGraphicFramePr>
        <p:xfrm>
          <a:off x="1593" y="1598"/>
          <a:ext cx="1587" cy="1587"/>
        </p:xfrm>
        <a:graphic>
          <a:graphicData uri="http://schemas.openxmlformats.org/presentationml/2006/ole">
            <p:oleObj spid="_x0000_s3025" name="think-cell Slide" r:id="rId10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58972" y="260357"/>
            <a:ext cx="7437216" cy="7691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 smtClean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79512" y="1268761"/>
            <a:ext cx="8712968" cy="50405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cxnSp>
        <p:nvCxnSpPr>
          <p:cNvPr id="9" name="Прямая соединительная линия 8"/>
          <p:cNvCxnSpPr/>
          <p:nvPr>
            <p:custDataLst>
              <p:tags r:id="rId8"/>
            </p:custDataLst>
          </p:nvPr>
        </p:nvCxnSpPr>
        <p:spPr>
          <a:xfrm>
            <a:off x="251520" y="1028733"/>
            <a:ext cx="8640960" cy="0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3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7884370" y="6525362"/>
            <a:ext cx="1074328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22C84-AFB0-4ECA-B636-37B0130E7E3D}" type="slidenum">
              <a:rPr lang="ru-RU" sz="1000" smtClean="0">
                <a:solidFill>
                  <a:srgbClr val="FFFFFF">
                    <a:lumMod val="50000"/>
                  </a:srgbClr>
                </a:solidFill>
                <a:cs typeface="Arial" pitchFamily="34" charset="0"/>
              </a:rPr>
              <a:pPr/>
              <a:t>‹#›</a:t>
            </a:fld>
            <a:endParaRPr lang="ru-RU" sz="1000" dirty="0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12300" y="435905"/>
            <a:ext cx="1246401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77985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</p:sldLayoutIdLst>
  <p:timing>
    <p:tnLst>
      <p:par>
        <p:cTn id="1" dur="indefinite" restart="never" nodeType="tmRoot"/>
      </p:par>
    </p:tnLst>
  </p:timing>
  <p:txStyles>
    <p:titleStyle>
      <a:lvl1pPr marL="0" algn="l" defTabSz="914400" rtl="0" eaLnBrk="1" latinLnBrk="0" hangingPunct="1">
        <a:spcBef>
          <a:spcPct val="0"/>
        </a:spcBef>
        <a:buNone/>
        <a:defRPr lang="ru-RU" sz="2200" b="1" kern="1200" baseline="0" dirty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271463" indent="-271463" algn="l" defTabSz="914400" rtl="0" eaLnBrk="1" latinLnBrk="0" hangingPunct="1">
        <a:spcBef>
          <a:spcPts val="0"/>
        </a:spcBef>
        <a:spcAft>
          <a:spcPts val="900"/>
        </a:spcAft>
        <a:buFont typeface="Arial" pitchFamily="34" charset="0"/>
        <a:buChar char="•"/>
        <a:defRPr lang="ru-RU" sz="1400" kern="1200" dirty="0" smtClean="0">
          <a:solidFill>
            <a:schemeClr val="tx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622300" indent="-260350" algn="l" defTabSz="914400" rtl="0" eaLnBrk="1" latinLnBrk="0" hangingPunct="1">
        <a:spcBef>
          <a:spcPts val="0"/>
        </a:spcBef>
        <a:spcAft>
          <a:spcPts val="600"/>
        </a:spcAft>
        <a:buClr>
          <a:schemeClr val="accent1">
            <a:lumMod val="75000"/>
          </a:schemeClr>
        </a:buClr>
        <a:buFont typeface="Arial" pitchFamily="34" charset="0"/>
        <a:buChar char="•"/>
        <a:defRPr lang="ru-RU" sz="1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40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tabLst/>
        <a:defRPr lang="ru-RU" sz="1400" kern="1200" baseline="0" dirty="0" smtClean="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/>
        </p:nvGraphicFramePr>
        <p:xfrm>
          <a:off x="1591" y="1596"/>
          <a:ext cx="1587" cy="1587"/>
        </p:xfrm>
        <a:graphic>
          <a:graphicData uri="http://schemas.openxmlformats.org/presentationml/2006/ole">
            <p:oleObj spid="_x0000_s4036" name="think-cell Slide" r:id="rId10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58972" y="260357"/>
            <a:ext cx="7437216" cy="7691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 smtClean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79512" y="1268761"/>
            <a:ext cx="8712968" cy="50405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cxnSp>
        <p:nvCxnSpPr>
          <p:cNvPr id="9" name="Прямая соединительная линия 8"/>
          <p:cNvCxnSpPr/>
          <p:nvPr>
            <p:custDataLst>
              <p:tags r:id="rId8"/>
            </p:custDataLst>
          </p:nvPr>
        </p:nvCxnSpPr>
        <p:spPr>
          <a:xfrm>
            <a:off x="251520" y="1028733"/>
            <a:ext cx="8640960" cy="0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3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7884370" y="6525358"/>
            <a:ext cx="1074328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22C84-AFB0-4ECA-B636-37B0130E7E3D}" type="slidenum">
              <a:rPr lang="ru-RU" sz="1000" smtClean="0">
                <a:solidFill>
                  <a:srgbClr val="FFFFFF">
                    <a:lumMod val="50000"/>
                  </a:srgbClr>
                </a:solidFill>
                <a:cs typeface="Arial" pitchFamily="34" charset="0"/>
              </a:rPr>
              <a:pPr/>
              <a:t>‹#›</a:t>
            </a:fld>
            <a:endParaRPr lang="ru-RU" sz="1000" dirty="0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12300" y="435905"/>
            <a:ext cx="1246401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84645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timing>
    <p:tnLst>
      <p:par>
        <p:cTn id="1" dur="indefinite" restart="never" nodeType="tmRoot"/>
      </p:par>
    </p:tnLst>
  </p:timing>
  <p:txStyles>
    <p:titleStyle>
      <a:lvl1pPr marL="0" algn="l" defTabSz="914400" rtl="0" eaLnBrk="1" latinLnBrk="0" hangingPunct="1">
        <a:spcBef>
          <a:spcPct val="0"/>
        </a:spcBef>
        <a:buNone/>
        <a:defRPr lang="ru-RU" sz="2200" b="1" kern="1200" baseline="0" dirty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271463" indent="-271463" algn="l" defTabSz="914400" rtl="0" eaLnBrk="1" latinLnBrk="0" hangingPunct="1">
        <a:spcBef>
          <a:spcPts val="0"/>
        </a:spcBef>
        <a:spcAft>
          <a:spcPts val="900"/>
        </a:spcAft>
        <a:buFont typeface="Arial" pitchFamily="34" charset="0"/>
        <a:buChar char="•"/>
        <a:defRPr lang="ru-RU" sz="1400" kern="1200" dirty="0" smtClean="0">
          <a:solidFill>
            <a:schemeClr val="tx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622300" indent="-260350" algn="l" defTabSz="914400" rtl="0" eaLnBrk="1" latinLnBrk="0" hangingPunct="1">
        <a:spcBef>
          <a:spcPts val="0"/>
        </a:spcBef>
        <a:spcAft>
          <a:spcPts val="600"/>
        </a:spcAft>
        <a:buClr>
          <a:schemeClr val="accent1">
            <a:lumMod val="75000"/>
          </a:schemeClr>
        </a:buClr>
        <a:buFont typeface="Arial" pitchFamily="34" charset="0"/>
        <a:buChar char="•"/>
        <a:defRPr lang="ru-RU" sz="1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40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tabLst/>
        <a:defRPr lang="ru-RU" sz="1400" kern="1200" baseline="0" dirty="0" smtClean="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/>
        </p:nvGraphicFramePr>
        <p:xfrm>
          <a:off x="1591" y="1596"/>
          <a:ext cx="1587" cy="1587"/>
        </p:xfrm>
        <a:graphic>
          <a:graphicData uri="http://schemas.openxmlformats.org/presentationml/2006/ole">
            <p:oleObj spid="_x0000_s17980" name="think-cell Slide" r:id="rId10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58972" y="260357"/>
            <a:ext cx="7437216" cy="7691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 smtClean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79512" y="1268761"/>
            <a:ext cx="8712968" cy="50405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cxnSp>
        <p:nvCxnSpPr>
          <p:cNvPr id="9" name="Прямая соединительная линия 8"/>
          <p:cNvCxnSpPr/>
          <p:nvPr>
            <p:custDataLst>
              <p:tags r:id="rId8"/>
            </p:custDataLst>
          </p:nvPr>
        </p:nvCxnSpPr>
        <p:spPr>
          <a:xfrm>
            <a:off x="251520" y="1028733"/>
            <a:ext cx="8640960" cy="0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3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7884370" y="6525358"/>
            <a:ext cx="1074328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22C84-AFB0-4ECA-B636-37B0130E7E3D}" type="slidenum">
              <a:rPr lang="ru-RU" sz="1000" smtClean="0">
                <a:solidFill>
                  <a:srgbClr val="FFFFFF">
                    <a:lumMod val="50000"/>
                  </a:srgbClr>
                </a:solidFill>
                <a:cs typeface="Arial" pitchFamily="34" charset="0"/>
              </a:rPr>
              <a:pPr/>
              <a:t>‹#›</a:t>
            </a:fld>
            <a:endParaRPr lang="ru-RU" sz="1000" dirty="0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12300" y="435905"/>
            <a:ext cx="1246401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6364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</p:sldLayoutIdLst>
  <p:timing>
    <p:tnLst>
      <p:par>
        <p:cTn id="1" dur="indefinite" restart="never" nodeType="tmRoot"/>
      </p:par>
    </p:tnLst>
  </p:timing>
  <p:txStyles>
    <p:titleStyle>
      <a:lvl1pPr marL="0" algn="l" defTabSz="914400" rtl="0" eaLnBrk="1" latinLnBrk="0" hangingPunct="1">
        <a:spcBef>
          <a:spcPct val="0"/>
        </a:spcBef>
        <a:buNone/>
        <a:defRPr lang="ru-RU" sz="2200" b="1" kern="1200" baseline="0" dirty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271463" indent="-271463" algn="l" defTabSz="914400" rtl="0" eaLnBrk="1" latinLnBrk="0" hangingPunct="1">
        <a:spcBef>
          <a:spcPts val="0"/>
        </a:spcBef>
        <a:spcAft>
          <a:spcPts val="900"/>
        </a:spcAft>
        <a:buFont typeface="Arial" pitchFamily="34" charset="0"/>
        <a:buChar char="•"/>
        <a:defRPr lang="ru-RU" sz="1400" kern="1200" dirty="0" smtClean="0">
          <a:solidFill>
            <a:schemeClr val="tx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622300" indent="-260350" algn="l" defTabSz="914400" rtl="0" eaLnBrk="1" latinLnBrk="0" hangingPunct="1">
        <a:spcBef>
          <a:spcPts val="0"/>
        </a:spcBef>
        <a:spcAft>
          <a:spcPts val="600"/>
        </a:spcAft>
        <a:buClr>
          <a:schemeClr val="accent1">
            <a:lumMod val="75000"/>
          </a:schemeClr>
        </a:buClr>
        <a:buFont typeface="Arial" pitchFamily="34" charset="0"/>
        <a:buChar char="•"/>
        <a:defRPr lang="ru-RU" sz="1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40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tabLst/>
        <a:defRPr lang="ru-RU" sz="1400" kern="1200" baseline="0" dirty="0" smtClean="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9120" y="128670"/>
            <a:ext cx="7437216" cy="7691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Ключевое сообщение</a:t>
            </a:r>
            <a:r>
              <a:rPr lang="en-US" dirty="0" smtClean="0"/>
              <a:t>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2 строки макс., выравнивание по лев. краю</a:t>
            </a:r>
            <a:r>
              <a:rPr lang="en-US" dirty="0" smtClean="0"/>
              <a:t> </a:t>
            </a:r>
            <a:endParaRPr lang="ru-RU" dirty="0" smtClean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9512" y="1508792"/>
            <a:ext cx="8712968" cy="48005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  <a:r>
              <a:rPr lang="en-US" dirty="0" smtClean="0"/>
              <a:t> – </a:t>
            </a:r>
            <a:r>
              <a:rPr lang="ru-RU" dirty="0" smtClean="0"/>
              <a:t>18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endParaRPr lang="ru-RU" dirty="0" smtClean="0"/>
          </a:p>
          <a:p>
            <a:pPr lvl="1"/>
            <a:r>
              <a:rPr lang="ru-RU" dirty="0" smtClean="0"/>
              <a:t>Второй уровень</a:t>
            </a:r>
            <a:r>
              <a:rPr lang="en-US" dirty="0" smtClean="0"/>
              <a:t> – </a:t>
            </a:r>
            <a:r>
              <a:rPr lang="ru-RU" dirty="0" smtClean="0"/>
              <a:t>18 </a:t>
            </a:r>
            <a:r>
              <a:rPr lang="ru-RU" dirty="0" err="1" smtClean="0"/>
              <a:t>пт</a:t>
            </a:r>
            <a:endParaRPr lang="ru-RU" dirty="0" smtClean="0"/>
          </a:p>
          <a:p>
            <a:pPr lvl="2"/>
            <a:r>
              <a:rPr lang="ru-RU" dirty="0" smtClean="0"/>
              <a:t>Третий уровень – 16 </a:t>
            </a:r>
            <a:r>
              <a:rPr lang="ru-RU" dirty="0" err="1" smtClean="0"/>
              <a:t>пт</a:t>
            </a:r>
            <a:endParaRPr lang="ru-RU" dirty="0" smtClean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251520" y="1028733"/>
            <a:ext cx="8640960" cy="0"/>
          </a:xfrm>
          <a:prstGeom prst="line">
            <a:avLst/>
          </a:prstGeom>
          <a:ln w="19050">
            <a:solidFill>
              <a:srgbClr val="88BB43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3"/>
          <p:cNvSpPr txBox="1">
            <a:spLocks/>
          </p:cNvSpPr>
          <p:nvPr/>
        </p:nvSpPr>
        <p:spPr>
          <a:xfrm>
            <a:off x="7884370" y="6525350"/>
            <a:ext cx="1074328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22C84-AFB0-4ECA-B636-37B0130E7E3D}" type="slidenum">
              <a:rPr lang="ru-RU" sz="1000" smtClean="0">
                <a:solidFill>
                  <a:srgbClr val="FFFFFF">
                    <a:lumMod val="50000"/>
                  </a:srgbClr>
                </a:solidFill>
                <a:cs typeface="Arial" pitchFamily="34" charset="0"/>
              </a:rPr>
              <a:pPr/>
              <a:t>‹#›</a:t>
            </a:fld>
            <a:endParaRPr lang="ru-RU" sz="1000" dirty="0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7" name="Picture 3" descr="C:\Users\Мокшина Наталья\Desktop\лого Илим рус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42099" y="479577"/>
            <a:ext cx="1122390" cy="429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00339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1" r:id="rId21"/>
  </p:sldLayoutIdLst>
  <p:timing>
    <p:tnLst>
      <p:par>
        <p:cTn id="1" dur="indefinite" restart="never" nodeType="tmRoot"/>
      </p:par>
    </p:tnLst>
  </p:timing>
  <p:txStyles>
    <p:titleStyle>
      <a:lvl1pPr marL="0" algn="l" defTabSz="914400" rtl="0" eaLnBrk="1" latinLnBrk="0" hangingPunct="1">
        <a:spcBef>
          <a:spcPct val="0"/>
        </a:spcBef>
        <a:buNone/>
        <a:defRPr lang="ru-RU" sz="2200" kern="1200" baseline="0" dirty="0">
          <a:solidFill>
            <a:srgbClr val="21572C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271463" indent="-271463" algn="l" defTabSz="914400" rtl="0" eaLnBrk="1" latinLnBrk="0" hangingPunct="1">
        <a:spcBef>
          <a:spcPts val="0"/>
        </a:spcBef>
        <a:spcAft>
          <a:spcPts val="900"/>
        </a:spcAft>
        <a:buFont typeface="Arial" pitchFamily="34" charset="0"/>
        <a:buChar char="•"/>
        <a:defRPr lang="ru-RU" sz="1800" kern="1200" dirty="0" smtClean="0">
          <a:solidFill>
            <a:schemeClr val="tx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622300" indent="-26035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–"/>
        <a:defRPr lang="ru-RU" sz="18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4738" indent="-160338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Char char="‒"/>
        <a:tabLst/>
        <a:defRPr lang="ru-RU" sz="1600" kern="1200" dirty="0" smtClean="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p:oleObj spid="_x0000_s18635" name="Слайд think-cell" r:id="rId13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031" b="1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8972" y="260352"/>
            <a:ext cx="7437216" cy="7691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 Arial 22 pt Bold, RGB 0-103-54, two lines maximum</a:t>
            </a:r>
            <a:endParaRPr lang="ru-RU" dirty="0" smtClean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07024" y="1508792"/>
            <a:ext cx="8204689" cy="48005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251520" y="1028733"/>
            <a:ext cx="8640960" cy="0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3"/>
          <p:cNvSpPr txBox="1">
            <a:spLocks/>
          </p:cNvSpPr>
          <p:nvPr/>
        </p:nvSpPr>
        <p:spPr>
          <a:xfrm>
            <a:off x="7884370" y="6525352"/>
            <a:ext cx="1074328" cy="246221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22C84-AFB0-4ECA-B636-37B0130E7E3D}" type="slidenum">
              <a:rPr lang="ru-RU" sz="923" smtClean="0">
                <a:solidFill>
                  <a:srgbClr val="FFFFFF">
                    <a:lumMod val="50000"/>
                  </a:srgbClr>
                </a:solidFill>
                <a:cs typeface="Arial" pitchFamily="34" charset="0"/>
              </a:rPr>
              <a:pPr/>
              <a:t>‹#›</a:t>
            </a:fld>
            <a:endParaRPr lang="ru-RU" sz="923" dirty="0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72324" y="442731"/>
            <a:ext cx="1152128" cy="480985"/>
          </a:xfrm>
          <a:prstGeom prst="rect">
            <a:avLst/>
          </a:prstGeom>
        </p:spPr>
      </p:pic>
      <p:sp>
        <p:nvSpPr>
          <p:cNvPr id="10" name="Текст 7"/>
          <p:cNvSpPr txBox="1">
            <a:spLocks/>
          </p:cNvSpPr>
          <p:nvPr/>
        </p:nvSpPr>
        <p:spPr>
          <a:xfrm>
            <a:off x="507023" y="6381752"/>
            <a:ext cx="4352316" cy="460375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SzPct val="120000"/>
              <a:buFont typeface="Arial" pitchFamily="34" charset="0"/>
              <a:buNone/>
              <a:defRPr lang="ru-RU" sz="800" i="1" kern="120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2300" indent="-2603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Arial" pitchFamily="34" charset="0"/>
              <a:buChar char="•"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/>
              <a:defRPr lang="ru-RU" sz="14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82C45B"/>
              </a:buClr>
            </a:pPr>
            <a:endParaRPr sz="738" dirty="0" smtClean="0">
              <a:solidFill>
                <a:srgbClr val="16161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12367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9" r:id="rId6"/>
    <p:sldLayoutId id="2147483790" r:id="rId7"/>
    <p:sldLayoutId id="2147483791" r:id="rId8"/>
    <p:sldLayoutId id="2147483792" r:id="rId9"/>
  </p:sldLayoutIdLst>
  <p:timing>
    <p:tnLst>
      <p:par>
        <p:cTn id="1" dur="indefinite" restart="never" nodeType="tmRoot"/>
      </p:par>
    </p:tnLst>
  </p:timing>
  <p:txStyles>
    <p:titleStyle>
      <a:lvl1pPr marL="0" algn="l" defTabSz="844083" rtl="0" eaLnBrk="1" latinLnBrk="0" hangingPunct="1">
        <a:spcBef>
          <a:spcPct val="0"/>
        </a:spcBef>
        <a:buNone/>
        <a:defRPr lang="ru-RU" sz="2031" b="1" kern="1200" baseline="0" dirty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250587" indent="-250587" algn="l" defTabSz="844083" rtl="0" eaLnBrk="1" latinLnBrk="0" hangingPunct="1">
        <a:spcBef>
          <a:spcPts val="0"/>
        </a:spcBef>
        <a:spcAft>
          <a:spcPts val="831"/>
        </a:spcAft>
        <a:buClr>
          <a:schemeClr val="accent2"/>
        </a:buClr>
        <a:buSzPct val="120000"/>
        <a:buFont typeface="Arial" pitchFamily="34" charset="0"/>
        <a:buChar char="•"/>
        <a:defRPr lang="ru-RU" sz="1292" kern="1200" dirty="0" smtClean="0">
          <a:solidFill>
            <a:schemeClr val="tx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574445" indent="-240329" algn="l" defTabSz="844083" rtl="0" eaLnBrk="1" latinLnBrk="0" hangingPunct="1">
        <a:spcBef>
          <a:spcPts val="0"/>
        </a:spcBef>
        <a:spcAft>
          <a:spcPts val="554"/>
        </a:spcAft>
        <a:buClr>
          <a:schemeClr val="accent2"/>
        </a:buClr>
        <a:buSzPct val="120000"/>
        <a:buFont typeface="Arial" pitchFamily="34" charset="0"/>
        <a:buChar char="•"/>
        <a:defRPr lang="ru-RU" sz="1292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44083" indent="0" algn="l" defTabSz="844083" rtl="0" eaLnBrk="1" latinLnBrk="0" hangingPunct="1">
        <a:spcBef>
          <a:spcPts val="0"/>
        </a:spcBef>
        <a:spcAft>
          <a:spcPts val="554"/>
        </a:spcAft>
        <a:buFont typeface="Arial" pitchFamily="34" charset="0"/>
        <a:buNone/>
        <a:tabLst/>
        <a:defRPr lang="ru-RU" sz="1292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77145" indent="-211021" algn="l" defTabSz="844083" rtl="0" eaLnBrk="1" latinLnBrk="0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844083" rtl="0" eaLnBrk="1" latinLnBrk="0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>
            <p:extLst/>
          </p:nvPr>
        </p:nvGraphicFramePr>
        <p:xfrm>
          <a:off x="1666" y="1692"/>
          <a:ext cx="1587" cy="1587"/>
        </p:xfrm>
        <a:graphic>
          <a:graphicData uri="http://schemas.openxmlformats.org/presentationml/2006/ole">
            <p:oleObj spid="_x0000_s23714" name="Слайд think-cell" r:id="rId10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31" b="1" i="0" baseline="0" dirty="0"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58972" y="260460"/>
            <a:ext cx="7437216" cy="7691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031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 smtClean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79512" y="1268761"/>
            <a:ext cx="8712968" cy="50405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cxnSp>
        <p:nvCxnSpPr>
          <p:cNvPr id="9" name="Прямая соединительная линия 8"/>
          <p:cNvCxnSpPr/>
          <p:nvPr userDrawn="1">
            <p:custDataLst>
              <p:tags r:id="rId8"/>
            </p:custDataLst>
          </p:nvPr>
        </p:nvCxnSpPr>
        <p:spPr>
          <a:xfrm>
            <a:off x="251520" y="1028733"/>
            <a:ext cx="8640960" cy="0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3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7884370" y="6525830"/>
            <a:ext cx="1074328" cy="246221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22C84-AFB0-4ECA-B636-37B0130E7E3D}" type="slidenum">
              <a:rPr lang="ru-RU" sz="923" smtClean="0">
                <a:solidFill>
                  <a:srgbClr val="FFFFFF">
                    <a:lumMod val="50000"/>
                  </a:srgbClr>
                </a:solidFill>
                <a:cs typeface="Arial" pitchFamily="34" charset="0"/>
              </a:rPr>
              <a:pPr/>
              <a:t>‹#›</a:t>
            </a:fld>
            <a:endParaRPr lang="ru-RU" sz="923" dirty="0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12300" y="435905"/>
            <a:ext cx="1246401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9978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</p:sldLayoutIdLst>
  <p:timing>
    <p:tnLst>
      <p:par>
        <p:cTn id="1" dur="indefinite" restart="never" nodeType="tmRoot"/>
      </p:par>
    </p:tnLst>
  </p:timing>
  <p:txStyles>
    <p:titleStyle>
      <a:lvl1pPr marL="0" algn="l" defTabSz="844083" rtl="0" eaLnBrk="1" latinLnBrk="0" hangingPunct="1">
        <a:spcBef>
          <a:spcPct val="0"/>
        </a:spcBef>
        <a:buNone/>
        <a:defRPr lang="ru-RU" sz="2031" b="1" kern="1200" baseline="0" dirty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250587" indent="-250587" algn="l" defTabSz="844083" rtl="0" eaLnBrk="1" latinLnBrk="0" hangingPunct="1">
        <a:spcBef>
          <a:spcPts val="0"/>
        </a:spcBef>
        <a:spcAft>
          <a:spcPts val="831"/>
        </a:spcAft>
        <a:buFont typeface="Arial" pitchFamily="34" charset="0"/>
        <a:buChar char="•"/>
        <a:defRPr lang="ru-RU" sz="1292" kern="1200" dirty="0" smtClean="0">
          <a:solidFill>
            <a:schemeClr val="tx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574445" indent="-240329" algn="l" defTabSz="844083" rtl="0" eaLnBrk="1" latinLnBrk="0" hangingPunct="1">
        <a:spcBef>
          <a:spcPts val="0"/>
        </a:spcBef>
        <a:spcAft>
          <a:spcPts val="554"/>
        </a:spcAft>
        <a:buClr>
          <a:schemeClr val="accent1">
            <a:lumMod val="75000"/>
          </a:schemeClr>
        </a:buClr>
        <a:buFont typeface="Arial" pitchFamily="34" charset="0"/>
        <a:buChar char="•"/>
        <a:defRPr lang="ru-RU" sz="1292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44083" indent="0" algn="l" defTabSz="844083" rtl="0" eaLnBrk="1" latinLnBrk="0" hangingPunct="1">
        <a:spcBef>
          <a:spcPts val="0"/>
        </a:spcBef>
        <a:spcAft>
          <a:spcPts val="554"/>
        </a:spcAft>
        <a:buFont typeface="Arial" pitchFamily="34" charset="0"/>
        <a:buNone/>
        <a:tabLst/>
        <a:defRPr lang="ru-RU" sz="1292" kern="1200" baseline="0" dirty="0" smtClean="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3pPr>
      <a:lvl4pPr marL="1477145" indent="-211021" algn="l" defTabSz="844083" rtl="0" eaLnBrk="1" latinLnBrk="0" hangingPunct="1">
        <a:spcBef>
          <a:spcPct val="20000"/>
        </a:spcBef>
        <a:buFont typeface="Arial" pitchFamily="34" charset="0"/>
        <a:buChar char="–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844083" rtl="0" eaLnBrk="1" latinLnBrk="0" hangingPunct="1">
        <a:spcBef>
          <a:spcPct val="20000"/>
        </a:spcBef>
        <a:buFont typeface="Arial" pitchFamily="34" charset="0"/>
        <a:buChar char="»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7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jpeg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096451" y="5877272"/>
            <a:ext cx="2808287" cy="980728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 21 января 2022 год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>
          <a:xfrm>
            <a:off x="395536" y="3501008"/>
            <a:ext cx="8352928" cy="1152128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algn="ctr">
              <a:spcBef>
                <a:spcPct val="0"/>
              </a:spcBef>
            </a:pPr>
            <a:r>
              <a:rPr lang="ru-RU" b="0" dirty="0" smtClean="0">
                <a:solidFill>
                  <a:srgbClr val="006736"/>
                </a:solidFill>
              </a:rPr>
              <a:t>Статус адаптации к модернизированной ЛесЕГАИС, мобильному приложению ЛесЕГАИС.</a:t>
            </a:r>
            <a:r>
              <a:rPr lang="en-US" b="0" dirty="0" smtClean="0">
                <a:solidFill>
                  <a:srgbClr val="006736"/>
                </a:solidFill>
              </a:rPr>
              <a:t>mobile</a:t>
            </a:r>
            <a:r>
              <a:rPr lang="ru-RU" b="0" dirty="0" smtClean="0">
                <a:solidFill>
                  <a:srgbClr val="006736"/>
                </a:solidFill>
              </a:rPr>
              <a:t> и внедрению электронного сопроводительного документа</a:t>
            </a:r>
            <a:endParaRPr lang="ru-RU" sz="2000" b="0" dirty="0"/>
          </a:p>
        </p:txBody>
      </p:sp>
      <p:pic>
        <p:nvPicPr>
          <p:cNvPr id="9" name="Рисунок 8" descr="img26-high.jpg"/>
          <p:cNvPicPr>
            <a:picLocks noChangeAspect="1"/>
          </p:cNvPicPr>
          <p:nvPr/>
        </p:nvPicPr>
        <p:blipFill>
          <a:blip r:embed="rId3" cstate="print"/>
          <a:srcRect t="2444" b="2444"/>
          <a:stretch>
            <a:fillRect/>
          </a:stretch>
        </p:blipFill>
        <p:spPr>
          <a:xfrm>
            <a:off x="5364088" y="764704"/>
            <a:ext cx="2978578" cy="165673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4" name="Прямоугольник 3"/>
          <p:cNvSpPr/>
          <p:nvPr/>
        </p:nvSpPr>
        <p:spPr>
          <a:xfrm>
            <a:off x="251520" y="332656"/>
            <a:ext cx="1728192" cy="792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одзаголовок 1"/>
          <p:cNvSpPr>
            <a:spLocks noGrp="1"/>
          </p:cNvSpPr>
          <p:nvPr>
            <p:ph type="subTitle" idx="1"/>
          </p:nvPr>
        </p:nvSpPr>
        <p:spPr>
          <a:xfrm>
            <a:off x="5724128" y="4799678"/>
            <a:ext cx="2587379" cy="864096"/>
          </a:xfrm>
        </p:spPr>
        <p:txBody>
          <a:bodyPr>
            <a:noAutofit/>
          </a:bodyPr>
          <a:lstStyle/>
          <a:p>
            <a:r>
              <a:rPr lang="ru-RU" dirty="0" smtClean="0">
                <a:solidFill>
                  <a:schemeClr val="tx1"/>
                </a:solidFill>
              </a:rPr>
              <a:t>Вервейко И.В.,          Руководитель отдела по лесной политике АО «Группа «Илим»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0871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73734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44083"/>
            <a:endParaRPr lang="ru-RU" sz="166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8137" y="224089"/>
            <a:ext cx="7959654" cy="646993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 smtClean="0">
                <a:solidFill>
                  <a:srgbClr val="006736"/>
                </a:solidFill>
              </a:rPr>
              <a:t>Текущее состояние модернизированной </a:t>
            </a:r>
            <a:r>
              <a:rPr lang="ru-RU" sz="2000" b="0" dirty="0">
                <a:solidFill>
                  <a:srgbClr val="006736"/>
                </a:solidFill>
              </a:rPr>
              <a:t>ЛесЕГАИС и </a:t>
            </a:r>
            <a:r>
              <a:rPr lang="ru-RU" sz="2000" b="0" dirty="0" smtClean="0">
                <a:solidFill>
                  <a:srgbClr val="006736"/>
                </a:solidFill>
              </a:rPr>
              <a:t>мобильного приложения </a:t>
            </a:r>
            <a:r>
              <a:rPr lang="ru-RU" sz="2000" b="0" dirty="0">
                <a:solidFill>
                  <a:srgbClr val="006736"/>
                </a:solidFill>
              </a:rPr>
              <a:t>ЛесЕГАИС.</a:t>
            </a:r>
            <a:r>
              <a:rPr lang="en-US" sz="2000" b="0" dirty="0">
                <a:solidFill>
                  <a:srgbClr val="006736"/>
                </a:solidFill>
              </a:rPr>
              <a:t>mobile </a:t>
            </a:r>
            <a:r>
              <a:rPr lang="ru-RU" sz="2000" b="0" dirty="0" smtClean="0">
                <a:solidFill>
                  <a:srgbClr val="006736"/>
                </a:solidFill>
              </a:rPr>
              <a:t>несет риски для компаний</a:t>
            </a:r>
            <a:endParaRPr lang="ru-RU" sz="2000" b="0" dirty="0">
              <a:solidFill>
                <a:srgbClr val="006736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9124059"/>
              </p:ext>
            </p:extLst>
          </p:nvPr>
        </p:nvGraphicFramePr>
        <p:xfrm>
          <a:off x="611560" y="1880721"/>
          <a:ext cx="8100900" cy="3430580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4752528">
                  <a:extLst>
                    <a:ext uri="{9D8B030D-6E8A-4147-A177-3AD203B41FA5}">
                      <a16:colId xmlns:a16="http://schemas.microsoft.com/office/drawing/2014/main" xmlns="" val="1386515370"/>
                    </a:ext>
                  </a:extLst>
                </a:gridCol>
                <a:gridCol w="3348372">
                  <a:extLst>
                    <a:ext uri="{9D8B030D-6E8A-4147-A177-3AD203B41FA5}">
                      <a16:colId xmlns:a16="http://schemas.microsoft.com/office/drawing/2014/main" xmlns="" val="2021484693"/>
                    </a:ext>
                  </a:extLst>
                </a:gridCol>
              </a:tblGrid>
              <a:tr h="378886"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сновные проблемы 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мобильного приложения ЛесЕГАИС.</a:t>
                      </a:r>
                      <a:r>
                        <a:rPr lang="en-US" sz="1200" dirty="0" smtClean="0">
                          <a:solidFill>
                            <a:schemeClr val="bg1"/>
                          </a:solidFill>
                        </a:rPr>
                        <a:t>mobile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</a:rPr>
                        <a:t> (МП) и вебсайта модернизированной ЛесЕГАИС 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иски для компаний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22915843"/>
                  </a:ext>
                </a:extLst>
              </a:tr>
              <a:tr h="471380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МП приложение работает не устойчиво и формирует документы долго, особенно в режиме офлайн (до 1 часа);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стои лесовозов при оформлении ЭСД;</a:t>
                      </a:r>
                    </a:p>
                    <a:p>
                      <a:pPr algn="l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xmlns="" val="2941104086"/>
                  </a:ext>
                </a:extLst>
              </a:tr>
              <a:tr h="865230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Содержание ЭСД в МП и на сайте не соответствует утвержденным НПА;</a:t>
                      </a:r>
                    </a:p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Информация, которая кодируется в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R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коде не полная и не соответствует тому, что заполнялось пользователем при оформлении ЭСД, и не соответствует НПА;</a:t>
                      </a:r>
                    </a:p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Система недостаточно предупреждает пользователя о необходимости заполнения обязательных полей;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штрафные санкции за оформление ЭСД с нарушением требований законодательства;</a:t>
                      </a:r>
                    </a:p>
                    <a:p>
                      <a:pPr marL="0" marR="0" lvl="0" indent="0" algn="l" defTabSz="84408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допоставка древесины на лесоперерабатывающие предприятия;</a:t>
                      </a:r>
                    </a:p>
                    <a:p>
                      <a:pPr marL="0" marR="0" lvl="0" indent="0" algn="l" defTabSz="84408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остановка экспорта круглых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лесоматериалов и пиломатериалов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xmlns="" val="1712118710"/>
                  </a:ext>
                </a:extLst>
              </a:tr>
              <a:tr h="471380"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Функционал ЛесЕГАИС не доработан, особенно в части МСД (отсутствует функционал по пересортировке и инвентаризации);</a:t>
                      </a:r>
                    </a:p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Объемы древесины, поступающие на место складирования, учитываются не корректно;</a:t>
                      </a:r>
                    </a:p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при погашении ЭСД на МСД нет возможности добавить другой вид продукции в ОБД;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соответствие производственного и бухгалтерского учета предприятия учету объемов древесины в ЛесЕГАИС;</a:t>
                      </a:r>
                    </a:p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2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xmlns="" val="3821334780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431540" y="1052736"/>
            <a:ext cx="82809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Резюме работы в мобильном приложении ЛесЕГАИС.</a:t>
            </a:r>
            <a:r>
              <a:rPr lang="en-US" dirty="0"/>
              <a:t>mobile</a:t>
            </a:r>
            <a:r>
              <a:rPr lang="ru-RU" dirty="0"/>
              <a:t> (МП) и на вебсайте модернизированной ЛесЕГАИС (по состоянию на 11.01.22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11560" y="5661248"/>
            <a:ext cx="8118902" cy="8309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dirty="0" smtClean="0"/>
              <a:t>При этом формально </a:t>
            </a:r>
            <a:r>
              <a:rPr lang="ru-RU" sz="1600" dirty="0"/>
              <a:t>МП и сайт позволяют формировать ЭСД </a:t>
            </a:r>
            <a:r>
              <a:rPr lang="ru-RU" sz="1600" dirty="0" smtClean="0"/>
              <a:t>(с </a:t>
            </a:r>
            <a:r>
              <a:rPr lang="en-US" sz="1600" dirty="0"/>
              <a:t>QR </a:t>
            </a:r>
            <a:r>
              <a:rPr lang="ru-RU" sz="1600" dirty="0" smtClean="0"/>
              <a:t>кодом) и ОБД.</a:t>
            </a:r>
          </a:p>
          <a:p>
            <a:pPr algn="ctr"/>
            <a:r>
              <a:rPr lang="ru-RU" sz="1600" dirty="0" smtClean="0"/>
              <a:t>Количество документов в системе формируется большое, но содержание документов не соответствует НПА.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680810" y="5311301"/>
            <a:ext cx="531830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Полный список замечаний прилагается. 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xmlns="" val="2782605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68647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44083"/>
            <a:endParaRPr lang="ru-RU" sz="166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8137" y="224089"/>
            <a:ext cx="7959654" cy="792088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 smtClean="0">
                <a:solidFill>
                  <a:srgbClr val="006736"/>
                </a:solidFill>
              </a:rPr>
              <a:t>Полный список замечаний по текущему состоянию модернизированной </a:t>
            </a:r>
            <a:r>
              <a:rPr lang="ru-RU" sz="2000" b="0" dirty="0">
                <a:solidFill>
                  <a:srgbClr val="006736"/>
                </a:solidFill>
              </a:rPr>
              <a:t>ЛесЕГАИС и </a:t>
            </a:r>
            <a:r>
              <a:rPr lang="ru-RU" sz="2000" b="0" dirty="0" smtClean="0">
                <a:solidFill>
                  <a:srgbClr val="006736"/>
                </a:solidFill>
              </a:rPr>
              <a:t>мобильного приложения </a:t>
            </a:r>
            <a:r>
              <a:rPr lang="ru-RU" sz="2000" b="0" dirty="0">
                <a:solidFill>
                  <a:srgbClr val="006736"/>
                </a:solidFill>
              </a:rPr>
              <a:t>ЛесЕГАИС.</a:t>
            </a:r>
            <a:r>
              <a:rPr lang="en-US" sz="2000" b="0" dirty="0">
                <a:solidFill>
                  <a:srgbClr val="006736"/>
                </a:solidFill>
              </a:rPr>
              <a:t>mobile </a:t>
            </a:r>
            <a:r>
              <a:rPr lang="ru-RU" sz="2000" b="0" dirty="0" smtClean="0">
                <a:solidFill>
                  <a:srgbClr val="006736"/>
                </a:solidFill>
              </a:rPr>
              <a:t>несет риски для компаний</a:t>
            </a:r>
            <a:endParaRPr lang="ru-RU" sz="2000" b="0" dirty="0">
              <a:solidFill>
                <a:srgbClr val="006736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56559013"/>
              </p:ext>
            </p:extLst>
          </p:nvPr>
        </p:nvGraphicFramePr>
        <p:xfrm>
          <a:off x="268137" y="1124744"/>
          <a:ext cx="8624344" cy="536538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7479">
                  <a:extLst>
                    <a:ext uri="{9D8B030D-6E8A-4147-A177-3AD203B41FA5}">
                      <a16:colId xmlns:a16="http://schemas.microsoft.com/office/drawing/2014/main" xmlns="" val="992635764"/>
                    </a:ext>
                  </a:extLst>
                </a:gridCol>
                <a:gridCol w="3888432">
                  <a:extLst>
                    <a:ext uri="{9D8B030D-6E8A-4147-A177-3AD203B41FA5}">
                      <a16:colId xmlns:a16="http://schemas.microsoft.com/office/drawing/2014/main" xmlns="" val="2925168952"/>
                    </a:ext>
                  </a:extLst>
                </a:gridCol>
                <a:gridCol w="3888433">
                  <a:extLst>
                    <a:ext uri="{9D8B030D-6E8A-4147-A177-3AD203B41FA5}">
                      <a16:colId xmlns:a16="http://schemas.microsoft.com/office/drawing/2014/main" xmlns="" val="4251554939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Область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замечания 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3714838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по веб версии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по МП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/>
                </a:tc>
                <a:extLst>
                  <a:ext uri="{0D108BD9-81ED-4DB2-BD59-A6C34878D82A}">
                    <a16:rowId xmlns:a16="http://schemas.microsoft.com/office/drawing/2014/main" xmlns="" val="2483472087"/>
                  </a:ext>
                </a:extLst>
              </a:tr>
              <a:tr h="188224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формирование ЭСД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</a:rPr>
                        <a:t>ЭСД </a:t>
                      </a:r>
                      <a:r>
                        <a:rPr lang="ru-RU" sz="800" u="none" strike="noStrike" dirty="0">
                          <a:effectLst/>
                        </a:rPr>
                        <a:t>можно оформить без указания грузоотправителя, грузополучателя, грузоперевозчик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не подтягивается адрес МСД при выборе МСД в качестве пункта отправления. Хотя в системе у </a:t>
                      </a:r>
                      <a:r>
                        <a:rPr lang="ru-RU" sz="800" u="none" strike="noStrike" dirty="0" smtClean="0">
                          <a:effectLst/>
                        </a:rPr>
                        <a:t>МСД </a:t>
                      </a:r>
                      <a:r>
                        <a:rPr lang="ru-RU" sz="800" u="none" strike="noStrike" dirty="0">
                          <a:effectLst/>
                        </a:rPr>
                        <a:t>адрес есть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96630665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ЭСД можно оформить без указания места назначения (прекращения действия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в пункте назначения можно выбрать только свой МСД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204053227"/>
                  </a:ext>
                </a:extLst>
              </a:tr>
              <a:tr h="2416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Объем в ЭСД указывается с одним знаком после запятой. Надо с двумя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у грузоотправителя, грузополучателя, перевозчика не указывается КПП и адрес. По НПА такая информация должна быть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1244227957"/>
                  </a:ext>
                </a:extLst>
              </a:tr>
              <a:tr h="2657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не подтягивается адрес МСД при выборе МСД в качестве пункта отправления. Хотя в системе у этого МСД адрес есть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в ЭСД </a:t>
                      </a:r>
                      <a:r>
                        <a:rPr lang="ru-RU" sz="800" u="none" strike="noStrike" dirty="0" smtClean="0">
                          <a:effectLst/>
                        </a:rPr>
                        <a:t>должен </a:t>
                      </a:r>
                      <a:r>
                        <a:rPr lang="ru-RU" sz="800" u="none" strike="noStrike" dirty="0">
                          <a:effectLst/>
                        </a:rPr>
                        <a:t>указываться объем при отгрузке и объем при приемке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3769227358"/>
                  </a:ext>
                </a:extLst>
              </a:tr>
              <a:tr h="2416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у грузоотправителя, грузополучателя, перевозчика не указывается КПП и адрес. По НПА такая информация должна быть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МП позволяет сформировать ЭСД без указания пункта отправления и пункта назначе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2260121152"/>
                  </a:ext>
                </a:extLst>
              </a:tr>
              <a:tr h="1610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после погашения ЭСД в нем доджен указываться объем при приемке.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МП позволяет указать объем без двух знаков после запято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4269239261"/>
                  </a:ext>
                </a:extLst>
              </a:tr>
              <a:tr h="3583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можно сформировать ЭСД без указания номера транспортного сред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перед проставлением галочки "вы подтверждаете" не видны номер декларации </a:t>
                      </a:r>
                      <a:r>
                        <a:rPr lang="ru-RU" sz="800" u="none" strike="noStrike" dirty="0" smtClean="0">
                          <a:effectLst/>
                        </a:rPr>
                        <a:t>о сделках  </a:t>
                      </a:r>
                      <a:r>
                        <a:rPr lang="ru-RU" sz="800" u="none" strike="noStrike" dirty="0">
                          <a:effectLst/>
                        </a:rPr>
                        <a:t>собственник, грузоотправитель, грузополучатель (в случае, если это одно лицо). Также не видно пункта назначения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3305528230"/>
                  </a:ext>
                </a:extLst>
              </a:tr>
              <a:tr h="2166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суммарный объем древесины по нескольким позициям не суммируется. По НПА должно быть всего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не формируются координаты места прекращения действ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600415355"/>
                  </a:ext>
                </a:extLst>
              </a:tr>
              <a:tr h="216635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>
                          <a:effectLst/>
                        </a:rPr>
                        <a:t>Генерация QR-кода по созданному ЭСД 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может быть без указания собственника, грузоотправителя, грузополучателя, грузоперевозчик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собственник не указа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2108235449"/>
                  </a:ext>
                </a:extLst>
              </a:tr>
              <a:tr h="2416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у грузоотправителя, грузополучателя, перевозчика не указывается КПП и адрес. По НПА такая информация должна быть.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Если грузоотправитель, грузополучатель, перевозчик тот же, что и собственник, то они  не указаны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1486275130"/>
                  </a:ext>
                </a:extLst>
              </a:tr>
              <a:tr h="1610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</a:rPr>
                        <a:t>Объем в ЭСД может быть указан без знаков после запятой. Надо с двумя.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нет пункта отправления и назначения, если они не были указан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223428211"/>
                  </a:ext>
                </a:extLst>
              </a:tr>
              <a:tr h="1610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может быть не указано транспортное средство и  место назначения (прекращения действия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при подписании офлайн нет координат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613234848"/>
                  </a:ext>
                </a:extLst>
              </a:tr>
              <a:tr h="1610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27" marR="4027" marT="40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нет адресов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368747406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>
                          <a:effectLst/>
                        </a:rPr>
                        <a:t> </a:t>
                      </a:r>
                      <a:r>
                        <a:rPr lang="ru-RU" sz="800" u="none" strike="noStrike" dirty="0" smtClean="0">
                          <a:effectLst/>
                        </a:rPr>
                        <a:t>место отправления шифруется непонятным набором букв и цифр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нет номера декларации о сделках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4238448545"/>
                  </a:ext>
                </a:extLst>
              </a:tr>
              <a:tr h="207675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</a:rPr>
                        <a:t>Формирование ОБД (Приемка древесины на МСД) с гашением ЭСД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ctr"/>
                </a:tc>
                <a:tc rowSpan="3"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При погашении в веб версии ЭСД невозможно добавить вид продукции, который не был указан при отгрузке, но по факту был привезён на склад получателя, т.е. выдаётся системная ошибка, при попытке погашения ЭСД с добавленным видом продукци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не добавить позицию ОКПД, которая была в ЭСД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233208169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27" marR="4027" marT="40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не просмотреть подписанные ОБД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519722120"/>
                  </a:ext>
                </a:extLst>
              </a:tr>
              <a:tr h="2416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27" marR="4027" marT="402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в карточке ОБД после ее публикации на сайте нет остатка древесины до приемки и остатка после приемки древесины по данному ОБД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3687037666"/>
                  </a:ext>
                </a:extLst>
              </a:tr>
              <a:tr h="1610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 Если ОБД сформирован на сайте, то тогда на МСД будет виден и вид древесины и объем, но не будет виден собственник древесины.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объемы принятой из ОБД в МП не прилетают на склад, на который принят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1444535598"/>
                  </a:ext>
                </a:extLst>
              </a:tr>
              <a:tr h="4026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Отсутствие возможности закрыть ЭСД и сформировать ОБД на сайте, если ЭСД оформлен в </a:t>
                      </a:r>
                      <a:r>
                        <a:rPr lang="ru-RU" sz="800" u="none" strike="noStrike" dirty="0" err="1">
                          <a:effectLst/>
                        </a:rPr>
                        <a:t>офлайне</a:t>
                      </a:r>
                      <a:r>
                        <a:rPr lang="ru-RU" sz="800" u="none" strike="noStrike" dirty="0">
                          <a:effectLst/>
                        </a:rPr>
                        <a:t>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Если ОБД сформирован в МП (не зависимо от того онлайн или офлайн, а также не зависимо от того, сторонний ЭСД или свой), то на МСД (в его карточке) будет виден собственник древесины и вид древесины, но объем будет нулево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774203346"/>
                  </a:ext>
                </a:extLst>
              </a:tr>
              <a:tr h="2456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</a:rPr>
                        <a:t>система позволяет сформировать два ОБД по приемке, где в качестве документа-основания будет указан один и тот же ЭСД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36000" marB="0" anchor="b"/>
                </a:tc>
                <a:extLst>
                  <a:ext uri="{0D108BD9-81ED-4DB2-BD59-A6C34878D82A}">
                    <a16:rowId xmlns:a16="http://schemas.microsoft.com/office/drawing/2014/main" xmlns="" val="15237846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79802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69673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44083"/>
            <a:endParaRPr lang="ru-RU" sz="166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8137" y="116633"/>
            <a:ext cx="7959654" cy="720080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 smtClean="0">
                <a:solidFill>
                  <a:srgbClr val="006736"/>
                </a:solidFill>
              </a:rPr>
              <a:t>Предложения по доработке модернизированной </a:t>
            </a:r>
            <a:r>
              <a:rPr lang="ru-RU" sz="2000" b="0" dirty="0">
                <a:solidFill>
                  <a:srgbClr val="006736"/>
                </a:solidFill>
              </a:rPr>
              <a:t>ЛесЕГАИС и </a:t>
            </a:r>
            <a:r>
              <a:rPr lang="ru-RU" sz="2000" b="0" dirty="0" smtClean="0">
                <a:solidFill>
                  <a:srgbClr val="006736"/>
                </a:solidFill>
              </a:rPr>
              <a:t>мобильного приложения </a:t>
            </a:r>
            <a:r>
              <a:rPr lang="ru-RU" sz="2000" b="0" dirty="0">
                <a:solidFill>
                  <a:srgbClr val="006736"/>
                </a:solidFill>
              </a:rPr>
              <a:t>ЛесЕГАИС.</a:t>
            </a:r>
            <a:r>
              <a:rPr lang="en-US" sz="2000" b="0" dirty="0" smtClean="0">
                <a:solidFill>
                  <a:srgbClr val="006736"/>
                </a:solidFill>
              </a:rPr>
              <a:t>mobile</a:t>
            </a:r>
            <a:endParaRPr lang="ru-RU" sz="2000" b="0" dirty="0">
              <a:solidFill>
                <a:srgbClr val="006736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3528" y="1124744"/>
            <a:ext cx="8568952" cy="53285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ru-RU" sz="1400" dirty="0">
                <a:solidFill>
                  <a:schemeClr val="tx1"/>
                </a:solidFill>
              </a:rPr>
              <a:t>Предложения по доработке ЛесЕГАИС (кроме указанных замечаний</a:t>
            </a:r>
            <a:r>
              <a:rPr lang="ru-RU" sz="1400" dirty="0" smtClean="0">
                <a:solidFill>
                  <a:schemeClr val="tx1"/>
                </a:solidFill>
              </a:rPr>
              <a:t>)</a:t>
            </a:r>
          </a:p>
          <a:p>
            <a:pPr algn="ctr">
              <a:lnSpc>
                <a:spcPct val="150000"/>
              </a:lnSpc>
            </a:pPr>
            <a:r>
              <a:rPr lang="ru-RU" sz="1400" dirty="0">
                <a:solidFill>
                  <a:schemeClr val="tx1"/>
                </a:solidFill>
              </a:rPr>
              <a:t>	</a:t>
            </a:r>
          </a:p>
          <a:p>
            <a:pPr>
              <a:lnSpc>
                <a:spcPct val="150000"/>
              </a:lnSpc>
            </a:pPr>
            <a:r>
              <a:rPr lang="ru-RU" sz="1400" u="sng" dirty="0" smtClean="0">
                <a:solidFill>
                  <a:schemeClr val="tx1"/>
                </a:solidFill>
              </a:rPr>
              <a:t>Концептуальные:</a:t>
            </a:r>
            <a:r>
              <a:rPr lang="ru-RU" sz="1400" dirty="0">
                <a:solidFill>
                  <a:schemeClr val="tx1"/>
                </a:solidFill>
              </a:rPr>
              <a:t>	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необходимо </a:t>
            </a:r>
            <a:r>
              <a:rPr lang="ru-RU" sz="1400" dirty="0">
                <a:solidFill>
                  <a:schemeClr val="tx1"/>
                </a:solidFill>
              </a:rPr>
              <a:t>оптимизировать процесс синхронизации МП и сайта для уменьшения документооборота между </a:t>
            </a:r>
            <a:r>
              <a:rPr lang="ru-RU" sz="1400" dirty="0" smtClean="0">
                <a:solidFill>
                  <a:schemeClr val="tx1"/>
                </a:solidFill>
              </a:rPr>
              <a:t>ними;</a:t>
            </a:r>
            <a:endParaRPr lang="ru-RU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содержание </a:t>
            </a:r>
            <a:r>
              <a:rPr lang="ru-RU" sz="1400" dirty="0">
                <a:solidFill>
                  <a:schemeClr val="tx1"/>
                </a:solidFill>
              </a:rPr>
              <a:t>всех электронных документов (ЭСД, ОБД, ОПП) должно соответствовать </a:t>
            </a:r>
            <a:r>
              <a:rPr lang="ru-RU" sz="1400" dirty="0" smtClean="0">
                <a:solidFill>
                  <a:schemeClr val="tx1"/>
                </a:solidFill>
              </a:rPr>
              <a:t>НПА;</a:t>
            </a:r>
            <a:endParaRPr lang="ru-RU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для </a:t>
            </a:r>
            <a:r>
              <a:rPr lang="ru-RU" sz="1400" dirty="0">
                <a:solidFill>
                  <a:schemeClr val="tx1"/>
                </a:solidFill>
              </a:rPr>
              <a:t>МСД должны быть добавлены функции: пересортировки, инвентаризации, переработки, списания на собственные </a:t>
            </a:r>
            <a:r>
              <a:rPr lang="ru-RU" sz="1400" dirty="0" smtClean="0">
                <a:solidFill>
                  <a:schemeClr val="tx1"/>
                </a:solidFill>
              </a:rPr>
              <a:t>нужды (</a:t>
            </a:r>
            <a:r>
              <a:rPr lang="ru-RU" sz="1400" u="sng" dirty="0" smtClean="0">
                <a:solidFill>
                  <a:schemeClr val="tx1"/>
                </a:solidFill>
              </a:rPr>
              <a:t>не позднее 1 февраля 2022 года</a:t>
            </a:r>
            <a:r>
              <a:rPr lang="ru-RU" sz="1400" dirty="0" smtClean="0">
                <a:solidFill>
                  <a:schemeClr val="tx1"/>
                </a:solidFill>
              </a:rPr>
              <a:t>);</a:t>
            </a:r>
            <a:endParaRPr lang="ru-RU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предусмотреть </a:t>
            </a:r>
            <a:r>
              <a:rPr lang="ru-RU" sz="1400" dirty="0">
                <a:solidFill>
                  <a:schemeClr val="tx1"/>
                </a:solidFill>
              </a:rPr>
              <a:t>возможность удаления МСД и ОЛИ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предусмотреть </a:t>
            </a:r>
            <a:r>
              <a:rPr lang="ru-RU" sz="1400" dirty="0">
                <a:solidFill>
                  <a:schemeClr val="tx1"/>
                </a:solidFill>
              </a:rPr>
              <a:t>возможность добавления участников оборота древесины (не через создание ЭСД)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предусмотреть </a:t>
            </a:r>
            <a:r>
              <a:rPr lang="ru-RU" sz="1400" dirty="0">
                <a:solidFill>
                  <a:schemeClr val="tx1"/>
                </a:solidFill>
              </a:rPr>
              <a:t>возможность погашения ЭСД на сайте с использованием сканера QR кода;</a:t>
            </a:r>
          </a:p>
          <a:p>
            <a:pPr>
              <a:lnSpc>
                <a:spcPct val="150000"/>
              </a:lnSpc>
            </a:pPr>
            <a:r>
              <a:rPr lang="ru-RU" sz="1400" u="sng" dirty="0">
                <a:solidFill>
                  <a:schemeClr val="tx1"/>
                </a:solidFill>
              </a:rPr>
              <a:t>Д</a:t>
            </a:r>
            <a:r>
              <a:rPr lang="ru-RU" sz="1400" u="sng" dirty="0" smtClean="0">
                <a:solidFill>
                  <a:schemeClr val="tx1"/>
                </a:solidFill>
              </a:rPr>
              <a:t>ля </a:t>
            </a:r>
            <a:r>
              <a:rPr lang="ru-RU" sz="1400" u="sng" dirty="0">
                <a:solidFill>
                  <a:schemeClr val="tx1"/>
                </a:solidFill>
              </a:rPr>
              <a:t>удобства </a:t>
            </a:r>
            <a:r>
              <a:rPr lang="ru-RU" sz="1400" u="sng" dirty="0" smtClean="0">
                <a:solidFill>
                  <a:schemeClr val="tx1"/>
                </a:solidFill>
              </a:rPr>
              <a:t>пользователей:</a:t>
            </a:r>
            <a:r>
              <a:rPr lang="ru-RU" sz="1400" dirty="0">
                <a:solidFill>
                  <a:schemeClr val="tx1"/>
                </a:solidFill>
              </a:rPr>
              <a:t>	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добавить </a:t>
            </a:r>
            <a:r>
              <a:rPr lang="ru-RU" sz="1400" dirty="0">
                <a:solidFill>
                  <a:schemeClr val="tx1"/>
                </a:solidFill>
              </a:rPr>
              <a:t>возможность формирования черновиков документов на сайте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установить </a:t>
            </a:r>
            <a:r>
              <a:rPr lang="ru-RU" sz="1400" dirty="0">
                <a:solidFill>
                  <a:schemeClr val="tx1"/>
                </a:solidFill>
              </a:rPr>
              <a:t>фильтры и возможность поиска документов во всех разделах по всем основным </a:t>
            </a:r>
            <a:r>
              <a:rPr lang="ru-RU" sz="1400" dirty="0" smtClean="0">
                <a:solidFill>
                  <a:schemeClr val="tx1"/>
                </a:solidFill>
              </a:rPr>
              <a:t>полям.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48782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72710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44083"/>
            <a:endParaRPr lang="ru-RU" sz="166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8137" y="116632"/>
            <a:ext cx="7959654" cy="899545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 smtClean="0">
                <a:solidFill>
                  <a:srgbClr val="006736"/>
                </a:solidFill>
              </a:rPr>
              <a:t>Предложения по совершенствованию нормативной базы</a:t>
            </a:r>
            <a:endParaRPr lang="ru-RU" sz="2000" b="0" dirty="0">
              <a:solidFill>
                <a:srgbClr val="006736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23528" y="1340768"/>
            <a:ext cx="8496944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600" dirty="0" smtClean="0"/>
              <a:t>1. Внесение изменений в </a:t>
            </a:r>
            <a:r>
              <a:rPr lang="ru-RU" sz="1600" dirty="0"/>
              <a:t>НПА по ЭСД в части легализации использования </a:t>
            </a:r>
            <a:r>
              <a:rPr lang="en-US" sz="1600" dirty="0"/>
              <a:t>QR </a:t>
            </a:r>
            <a:r>
              <a:rPr lang="ru-RU" sz="1600" dirty="0"/>
              <a:t>кода, как атрибута, подтверждающего корректное формирования ЭСД в МП или на сайте ЛесЕГАИС.</a:t>
            </a:r>
          </a:p>
          <a:p>
            <a:pPr algn="just">
              <a:lnSpc>
                <a:spcPct val="150000"/>
              </a:lnSpc>
            </a:pPr>
            <a:r>
              <a:rPr lang="ru-RU" sz="1600" dirty="0" smtClean="0"/>
              <a:t>2.Внесение </a:t>
            </a:r>
            <a:r>
              <a:rPr lang="ru-RU" sz="1600" dirty="0"/>
              <a:t>изменений в КоАП в части установления ответственности за наличие подтверждения (</a:t>
            </a:r>
            <a:r>
              <a:rPr lang="en-US" sz="1600" dirty="0"/>
              <a:t>QR </a:t>
            </a:r>
            <a:r>
              <a:rPr lang="ru-RU" sz="1600" dirty="0"/>
              <a:t>кода) формирования ЭСД в соответствии с требованиями законодательства.</a:t>
            </a:r>
          </a:p>
          <a:p>
            <a:pPr algn="just">
              <a:lnSpc>
                <a:spcPct val="150000"/>
              </a:lnSpc>
            </a:pPr>
            <a:r>
              <a:rPr lang="ru-RU" sz="1600" dirty="0" smtClean="0"/>
              <a:t>3. Внесение поправок в Лесной кодекс</a:t>
            </a:r>
            <a:r>
              <a:rPr lang="ru-RU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/>
              <a:t>в части изменения требований: </a:t>
            </a:r>
          </a:p>
          <a:p>
            <a:pPr marL="285750" indent="-285750" algn="just">
              <a:lnSpc>
                <a:spcPct val="150000"/>
              </a:lnSpc>
              <a:buFontTx/>
              <a:buChar char="-"/>
            </a:pPr>
            <a:r>
              <a:rPr lang="ru-RU" sz="1600" dirty="0" smtClean="0"/>
              <a:t>о </a:t>
            </a:r>
            <a:r>
              <a:rPr lang="ru-RU" sz="1600" dirty="0"/>
              <a:t>запрете на </a:t>
            </a:r>
            <a:r>
              <a:rPr lang="ru-RU" sz="1600" dirty="0" smtClean="0"/>
              <a:t>совершение сделок </a:t>
            </a:r>
            <a:r>
              <a:rPr lang="ru-RU" sz="1600" dirty="0"/>
              <a:t>с древесиной и на </a:t>
            </a:r>
            <a:r>
              <a:rPr lang="ru-RU" sz="1600" dirty="0" smtClean="0"/>
              <a:t>транспортировку древесины </a:t>
            </a:r>
            <a:r>
              <a:rPr lang="ru-RU" sz="1600" dirty="0"/>
              <a:t>в случаях, когда древесина </a:t>
            </a:r>
            <a:r>
              <a:rPr lang="ru-RU" sz="1600" dirty="0" smtClean="0"/>
              <a:t>ещё </a:t>
            </a:r>
            <a:r>
              <a:rPr lang="ru-RU" sz="1600" dirty="0"/>
              <a:t>не находится в собственности у продавца или </a:t>
            </a:r>
            <a:r>
              <a:rPr lang="ru-RU" sz="1600" dirty="0" smtClean="0"/>
              <a:t>арендатора;</a:t>
            </a:r>
          </a:p>
          <a:p>
            <a:pPr marL="285750" indent="-285750" algn="just">
              <a:lnSpc>
                <a:spcPct val="150000"/>
              </a:lnSpc>
              <a:buFontTx/>
              <a:buChar char="-"/>
            </a:pPr>
            <a:r>
              <a:rPr lang="ru-RU" sz="1600" dirty="0" smtClean="0"/>
              <a:t>о внесении сведений о фактическом </a:t>
            </a:r>
            <a:r>
              <a:rPr lang="ru-RU" sz="1600" dirty="0"/>
              <a:t>объеме транспортировки древесины </a:t>
            </a:r>
            <a:r>
              <a:rPr lang="ru-RU" sz="1600" dirty="0" smtClean="0"/>
              <a:t>до начала самой транспортировки.</a:t>
            </a:r>
          </a:p>
        </p:txBody>
      </p:sp>
    </p:spTree>
    <p:extLst>
      <p:ext uri="{BB962C8B-B14F-4D97-AF65-F5344CB8AC3E}">
        <p14:creationId xmlns:p14="http://schemas.microsoft.com/office/powerpoint/2010/main" xmlns="" val="1277028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55367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44083"/>
            <a:endParaRPr lang="ru-RU" sz="166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7959654" cy="432048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>
                <a:solidFill>
                  <a:srgbClr val="006736"/>
                </a:solidFill>
              </a:rPr>
              <a:t>Основные </a:t>
            </a:r>
            <a:r>
              <a:rPr lang="ru-RU" sz="2000" b="0" dirty="0" smtClean="0">
                <a:solidFill>
                  <a:srgbClr val="006736"/>
                </a:solidFill>
              </a:rPr>
              <a:t>требования по учету древесины в соответствии с 3-ФЗ</a:t>
            </a:r>
            <a:endParaRPr lang="ru-RU" sz="2000" b="0" dirty="0">
              <a:solidFill>
                <a:srgbClr val="006736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23528" y="980728"/>
            <a:ext cx="8568952" cy="54726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</a:rPr>
              <a:t>Транспортировка древесины любым видом транспорта </a:t>
            </a:r>
            <a:r>
              <a:rPr lang="ru-RU" sz="1400" dirty="0" smtClean="0">
                <a:solidFill>
                  <a:schemeClr val="tx1"/>
                </a:solidFill>
              </a:rPr>
              <a:t>между лесосекой и складом или между складами допускается </a:t>
            </a:r>
            <a:r>
              <a:rPr lang="ru-RU" sz="1400" dirty="0">
                <a:solidFill>
                  <a:schemeClr val="tx1"/>
                </a:solidFill>
              </a:rPr>
              <a:t>только при наличии оформленного в установленном порядке </a:t>
            </a:r>
            <a:r>
              <a:rPr lang="ru-RU" sz="1400" dirty="0" smtClean="0">
                <a:solidFill>
                  <a:schemeClr val="tx1"/>
                </a:solidFill>
              </a:rPr>
              <a:t>электронного сопроводительного документа (ЭСД).</a:t>
            </a:r>
            <a:endParaRPr lang="ru-RU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При перемещении древесины в границах </a:t>
            </a:r>
            <a:r>
              <a:rPr lang="ru-RU" sz="1400" dirty="0">
                <a:solidFill>
                  <a:schemeClr val="tx1"/>
                </a:solidFill>
              </a:rPr>
              <a:t>лесосеки ЭСД не оформляется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</a:rPr>
              <a:t>Под учет попадают круглые лесоматериалы и пиломатериалы (щепа и продукция ЦБП не попадают под требования учета)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Любое место, где осуществляется приемка, отгрузка или хранение древесины, должно быть зарегистрировано в ЛесЕГАИС как место складирования древесины (МСД)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/>
                </a:solidFill>
              </a:rPr>
              <a:t>Любое место, где осуществляется </a:t>
            </a:r>
            <a:r>
              <a:rPr lang="ru-RU" sz="1400" dirty="0" smtClean="0">
                <a:solidFill>
                  <a:schemeClr val="tx1"/>
                </a:solidFill>
              </a:rPr>
              <a:t>переработка древесины с производством продукции, на которую распространяются требования по ее учету, </a:t>
            </a:r>
            <a:r>
              <a:rPr lang="ru-RU" sz="1400" dirty="0">
                <a:solidFill>
                  <a:schemeClr val="tx1"/>
                </a:solidFill>
              </a:rPr>
              <a:t>должно быть зарегистрировано в ЛесЕГАИС как </a:t>
            </a:r>
            <a:r>
              <a:rPr lang="ru-RU" sz="1400" dirty="0" smtClean="0">
                <a:solidFill>
                  <a:schemeClr val="tx1"/>
                </a:solidFill>
              </a:rPr>
              <a:t>объект лесоперерабатывающей инфраструктуры (ОЛИ);</a:t>
            </a:r>
            <a:endParaRPr lang="ru-RU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Контроль за оборотом древесины должен осуществляться по «балансовой модели» – на каждой лесосеке, каждом  МСД и ОЛИ объем учтенной древесины не может превышать объем древесины, учтенной на предыдущем этапе (пока данное требование в ЛесЕГАИС не активировано и на МСД допускаются отрицательные остатки древесины)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</a:rPr>
              <a:t>Любая транзакция на МСД (приемка, отгрузка, пересортировка или инвентаризация древесины) ведет к формированию Отчета о балансе древесины </a:t>
            </a:r>
            <a:r>
              <a:rPr lang="ru-RU" sz="1400" dirty="0">
                <a:solidFill>
                  <a:schemeClr val="tx1"/>
                </a:solidFill>
              </a:rPr>
              <a:t>(</a:t>
            </a:r>
            <a:r>
              <a:rPr lang="ru-RU" sz="1400" dirty="0" smtClean="0">
                <a:solidFill>
                  <a:schemeClr val="tx1"/>
                </a:solidFill>
              </a:rPr>
              <a:t>ОБД) на складе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95536" y="6427294"/>
            <a:ext cx="82039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*3-ФЗ – Федеральный закон </a:t>
            </a:r>
            <a:r>
              <a:rPr lang="ru-RU" sz="1000" dirty="0"/>
              <a:t>«О внесении изменений в Лесной кодекс РФ и отдельные законодательные акты Российской Федерации в части совершенствования правового регулирования лесных отношений» от 04.02.202г  №3-ФЗ</a:t>
            </a:r>
          </a:p>
        </p:txBody>
      </p:sp>
    </p:spTree>
    <p:extLst>
      <p:ext uri="{BB962C8B-B14F-4D97-AF65-F5344CB8AC3E}">
        <p14:creationId xmlns:p14="http://schemas.microsoft.com/office/powerpoint/2010/main" xmlns="" val="2404787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59447" name="Слайд think-cell" r:id="rId5" imgW="360" imgH="360" progId="">
              <p:embed/>
            </p:oleObj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662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35646" y="188640"/>
            <a:ext cx="8640959" cy="655364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>
                <a:solidFill>
                  <a:srgbClr val="006736"/>
                </a:solidFill>
              </a:rPr>
              <a:t>Сроки вступления в силу подзаконных актов по учету древесины не синхронизированы 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7183400"/>
              </p:ext>
            </p:extLst>
          </p:nvPr>
        </p:nvGraphicFramePr>
        <p:xfrm>
          <a:off x="379305" y="1597097"/>
          <a:ext cx="7554217" cy="3822105"/>
        </p:xfrm>
        <a:graphic>
          <a:graphicData uri="http://schemas.openxmlformats.org/drawingml/2006/table">
            <a:tbl>
              <a:tblPr/>
              <a:tblGrid>
                <a:gridCol w="3737793">
                  <a:extLst>
                    <a:ext uri="{9D8B030D-6E8A-4147-A177-3AD203B41FA5}">
                      <a16:colId xmlns:a16="http://schemas.microsoft.com/office/drawing/2014/main" xmlns="" val="1592283904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xmlns="" val="3513107304"/>
                    </a:ext>
                  </a:extLst>
                </a:gridCol>
                <a:gridCol w="2088232">
                  <a:extLst>
                    <a:ext uri="{9D8B030D-6E8A-4147-A177-3AD203B41FA5}">
                      <a16:colId xmlns:a16="http://schemas.microsoft.com/office/drawing/2014/main" xmlns="" val="3316933751"/>
                    </a:ext>
                  </a:extLst>
                </a:gridCol>
              </a:tblGrid>
              <a:tr h="62565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кумент,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ормативно-правовой акт (НПА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C45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 вступления в силу НПА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C45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 наступления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тветственности по КоАП*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C4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5757162"/>
                  </a:ext>
                </a:extLst>
              </a:tr>
              <a:tr h="39955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ый Порядок подачи Лесной декларации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.03.22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.03.22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96344866"/>
                  </a:ext>
                </a:extLst>
              </a:tr>
              <a:tr h="39955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вила определения характеристик древесины и учета древесины 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.03.22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.03.22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72317816"/>
                  </a:ext>
                </a:extLst>
              </a:tr>
              <a:tr h="39955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а и порядок оформления Электронного сопроводительного документа (ЭСД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.01.22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.01.22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14529500"/>
                  </a:ext>
                </a:extLst>
              </a:tr>
              <a:tr h="39955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чет о балансе древесины на складе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.03.22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.03.22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4523878"/>
                  </a:ext>
                </a:extLst>
              </a:tr>
              <a:tr h="39955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чет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 древесине и продукции из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е (для объекта лесоперерабатывающей инфраструктуры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.03.22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.03.22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56716710"/>
                  </a:ext>
                </a:extLst>
              </a:tr>
              <a:tr h="3995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ебования к оборудованию лесных складов средствами фиксации транспортных средств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1.01.22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предусмотрено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56098922"/>
                  </a:ext>
                </a:extLst>
              </a:tr>
              <a:tr h="39955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авила внесения информации в ЛесЕГАИ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ПА не утвержден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26170708"/>
                  </a:ext>
                </a:extLst>
              </a:tr>
              <a:tr h="3995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ение </a:t>
                      </a: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 государственном надзоре в сфере оборота древесины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0240" marR="30240" marT="81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2.07.21.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0240" marR="30240" marT="81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применимо</a:t>
                      </a:r>
                      <a:endParaRPr lang="ru-RU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0240" marR="30240" marT="814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16739268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41529" y="1210321"/>
            <a:ext cx="864095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Статус разработки и утверждения основных подзаконных актов по учету древесины в развитие 3-ФЗ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030556" y="5744289"/>
            <a:ext cx="5927510" cy="27699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ru-RU" sz="1200" dirty="0" smtClean="0"/>
              <a:t>Основные риски в настоящее время связаны с корректным оформлением ЭСД</a:t>
            </a:r>
            <a:endParaRPr lang="ru-RU" sz="12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27888" y="6453336"/>
            <a:ext cx="403244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*- Кодекс об административных правонарушениях.  </a:t>
            </a:r>
            <a:endParaRPr lang="ru-RU" sz="1000" dirty="0"/>
          </a:p>
        </p:txBody>
      </p:sp>
      <p:sp>
        <p:nvSpPr>
          <p:cNvPr id="5" name="Стрелка углом вверх 4"/>
          <p:cNvSpPr/>
          <p:nvPr/>
        </p:nvSpPr>
        <p:spPr>
          <a:xfrm rot="5400000" flipV="1">
            <a:off x="6824816" y="4385672"/>
            <a:ext cx="2808312" cy="462920"/>
          </a:xfrm>
          <a:prstGeom prst="bentUpArrow">
            <a:avLst>
              <a:gd name="adj1" fmla="val 16937"/>
              <a:gd name="adj2" fmla="val 25617"/>
              <a:gd name="adj3" fmla="val 34163"/>
            </a:avLst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82501" y="3159115"/>
            <a:ext cx="477931" cy="10772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endParaRPr lang="ru-RU" sz="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63596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60470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44083"/>
            <a:endParaRPr lang="ru-RU" sz="166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754" y="226164"/>
            <a:ext cx="7959654" cy="654621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 smtClean="0">
                <a:solidFill>
                  <a:srgbClr val="006736"/>
                </a:solidFill>
              </a:rPr>
              <a:t>Для адаптации к новому функционалу ЛесЕГАИС у компаний было менее одного дня</a:t>
            </a:r>
            <a:endParaRPr lang="ru-RU" sz="2000" b="0" dirty="0">
              <a:solidFill>
                <a:srgbClr val="006736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115616" y="1124744"/>
            <a:ext cx="69625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44083"/>
            <a:r>
              <a:rPr lang="ru-RU" sz="1400" dirty="0" smtClean="0">
                <a:solidFill>
                  <a:srgbClr val="161616"/>
                </a:solidFill>
                <a:latin typeface="Arial"/>
              </a:rPr>
              <a:t>Этапы внедрения нового </a:t>
            </a:r>
            <a:r>
              <a:rPr lang="ru-RU" sz="1400" dirty="0">
                <a:solidFill>
                  <a:srgbClr val="161616"/>
                </a:solidFill>
                <a:latin typeface="Arial"/>
              </a:rPr>
              <a:t>функционала </a:t>
            </a:r>
            <a:r>
              <a:rPr lang="ru-RU" sz="1400" dirty="0" smtClean="0">
                <a:solidFill>
                  <a:srgbClr val="161616"/>
                </a:solidFill>
                <a:latin typeface="Arial"/>
              </a:rPr>
              <a:t>ЛесЕГАИС и МП</a:t>
            </a:r>
            <a:endParaRPr lang="ru-RU" sz="1400" dirty="0">
              <a:solidFill>
                <a:srgbClr val="161616"/>
              </a:solidFill>
              <a:latin typeface="Arial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39504465"/>
              </p:ext>
            </p:extLst>
          </p:nvPr>
        </p:nvGraphicFramePr>
        <p:xfrm>
          <a:off x="545063" y="1676480"/>
          <a:ext cx="8103669" cy="3977956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2946817">
                  <a:extLst>
                    <a:ext uri="{9D8B030D-6E8A-4147-A177-3AD203B41FA5}">
                      <a16:colId xmlns:a16="http://schemas.microsoft.com/office/drawing/2014/main" xmlns="" val="1301955689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xmlns="" val="1109445528"/>
                    </a:ext>
                  </a:extLst>
                </a:gridCol>
                <a:gridCol w="3572676">
                  <a:extLst>
                    <a:ext uri="{9D8B030D-6E8A-4147-A177-3AD203B41FA5}">
                      <a16:colId xmlns:a16="http://schemas.microsoft.com/office/drawing/2014/main" xmlns="" val="3816757183"/>
                    </a:ext>
                  </a:extLst>
                </a:gridCol>
              </a:tblGrid>
              <a:tr h="35868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</a:rPr>
                        <a:t>Этапы</a:t>
                      </a:r>
                      <a:r>
                        <a:rPr lang="ru-RU" sz="1200" u="none" strike="noStrike" baseline="0" dirty="0" smtClean="0">
                          <a:effectLst/>
                        </a:rPr>
                        <a:t> внедрения нового функционала ЛесЕГАИ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solidFill>
                      <a:srgbClr val="82C45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сро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solidFill>
                      <a:srgbClr val="82C45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комментари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>
                    <a:solidFill>
                      <a:srgbClr val="82C45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3059707"/>
                  </a:ext>
                </a:extLst>
              </a:tr>
              <a:tr h="4858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варительное тестирование функционала ЛесЕГАИ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квартал 2021 год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чая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руппа (Рослесхоз, несколько крупных лесных компаний). Тестировался только сайт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extLst>
                  <a:ext uri="{0D108BD9-81ED-4DB2-BD59-A6C34878D82A}">
                    <a16:rowId xmlns:a16="http://schemas.microsoft.com/office/drawing/2014/main" xmlns="" val="4212994835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Заключение Рослесхозом контракта на модернизацию ЛесЕГАИ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smtClean="0">
                          <a:effectLst/>
                        </a:rPr>
                        <a:t>15.11.21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baseline="0" dirty="0" smtClean="0">
                          <a:effectLst/>
                        </a:rPr>
                        <a:t>Исполнитель работ - ООО «</a:t>
                      </a:r>
                      <a:r>
                        <a:rPr lang="ru-RU" sz="1200" u="none" strike="noStrike" baseline="0" dirty="0" err="1" smtClean="0">
                          <a:effectLst/>
                        </a:rPr>
                        <a:t>Борлас</a:t>
                      </a:r>
                      <a:r>
                        <a:rPr lang="ru-RU" sz="1200" u="none" strike="noStrike" baseline="0" dirty="0" smtClean="0">
                          <a:effectLst/>
                        </a:rPr>
                        <a:t>». Субподрядчик – Дата </a:t>
                      </a:r>
                      <a:r>
                        <a:rPr lang="ru-RU" sz="1200" u="none" strike="noStrike" baseline="0" dirty="0" err="1" smtClean="0">
                          <a:effectLst/>
                        </a:rPr>
                        <a:t>Солюшн</a:t>
                      </a:r>
                      <a:r>
                        <a:rPr lang="ru-RU" sz="1200" u="none" strike="noStrike" baseline="0" dirty="0" smtClean="0">
                          <a:effectLst/>
                        </a:rPr>
                        <a:t>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extLst>
                  <a:ext uri="{0D108BD9-81ED-4DB2-BD59-A6C34878D82A}">
                    <a16:rowId xmlns:a16="http://schemas.microsoft.com/office/drawing/2014/main" xmlns="" val="1644680231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Модернизация ЛесЕГАИС и разработка мобильного приложения (МП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</a:rPr>
                        <a:t>15.11.21.- 10.12.21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baseline="0" dirty="0" smtClean="0">
                          <a:effectLst/>
                        </a:rPr>
                        <a:t>С привлечением узкого круга экспертов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extLst>
                  <a:ext uri="{0D108BD9-81ED-4DB2-BD59-A6C34878D82A}">
                    <a16:rowId xmlns:a16="http://schemas.microsoft.com/office/drawing/2014/main" xmlns="" val="3794393788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Закрытое тестирование и доработка функционала ЛесЕГАИС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</a:rPr>
                        <a:t>10.12.21.-16.12.21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baseline="0" dirty="0" smtClean="0">
                          <a:effectLst/>
                        </a:rPr>
                        <a:t>С привлечением узкого круга компаний и регионов. Тестовая версия МП доступна стала  13.12.21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extLst>
                  <a:ext uri="{0D108BD9-81ED-4DB2-BD59-A6C34878D82A}">
                    <a16:rowId xmlns:a16="http://schemas.microsoft.com/office/drawing/2014/main" xmlns="" val="3117556774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0" marR="0" lvl="0" indent="0" algn="ctr" defTabSz="8440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</a:rPr>
                        <a:t>Публичное тестирование функционала ЛесЕГАИС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</a:rPr>
                        <a:t>17.12.21.-23.12.21.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baseline="0" dirty="0" smtClean="0">
                          <a:effectLst/>
                        </a:rPr>
                        <a:t>С привлечением широкого, но ограниченного, круга компаний и регионов. Тестовая версия МП</a:t>
                      </a:r>
                      <a:r>
                        <a:rPr lang="en-US" sz="12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200" u="none" strike="noStrike" baseline="0" dirty="0" smtClean="0">
                          <a:effectLst/>
                        </a:rPr>
                        <a:t>стала доступна 20.12.21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extLst>
                  <a:ext uri="{0D108BD9-81ED-4DB2-BD59-A6C34878D82A}">
                    <a16:rowId xmlns:a16="http://schemas.microsoft.com/office/drawing/2014/main" xmlns="" val="66950193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</a:rPr>
                        <a:t>Начало работы модернизированной ЛесЕГАИС на постоянной основе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 smtClean="0">
                          <a:effectLst/>
                        </a:rPr>
                        <a:t>01.01.22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Бизнес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 МП ЛесЕГАИС</a:t>
                      </a:r>
                      <a:r>
                        <a:rPr lang="en-US" sz="12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.mobile 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(версия 1.10.) размещено Рослесхозом для открытого скачивания </a:t>
                      </a:r>
                      <a:r>
                        <a:rPr lang="ru-RU" sz="12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cs typeface="+mn-cs"/>
                        </a:rPr>
                        <a:t>31 декабря 2021 года.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6 января 2022 года была опубликована новая версия МП (№ 1.02.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3231" marR="33231" marT="8631" marB="0" anchor="ctr"/>
                </a:tc>
                <a:extLst>
                  <a:ext uri="{0D108BD9-81ED-4DB2-BD59-A6C34878D82A}">
                    <a16:rowId xmlns:a16="http://schemas.microsoft.com/office/drawing/2014/main" xmlns="" val="200951044"/>
                  </a:ext>
                </a:extLst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545063" y="5898395"/>
            <a:ext cx="8103669" cy="64633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ru-RU" sz="1200" dirty="0" smtClean="0"/>
              <a:t>Предложения Группы Илим, других компаний, субъектов РФ, РСПП о необходимости переноса обязательного использования ЭСД (и сохранении на переходный период бумажного сопроводительного документа) не были поддержаны Правительством РФ, Минприроды России и </a:t>
            </a:r>
            <a:r>
              <a:rPr lang="ru-RU" sz="1200" dirty="0"/>
              <a:t>Р</a:t>
            </a:r>
            <a:r>
              <a:rPr lang="ru-RU" sz="1200" dirty="0" smtClean="0"/>
              <a:t>ослесхозом. 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xmlns="" val="371274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71720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44083"/>
            <a:endParaRPr lang="ru-RU" sz="166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754" y="44624"/>
            <a:ext cx="7743629" cy="792088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 smtClean="0">
                <a:solidFill>
                  <a:srgbClr val="006736"/>
                </a:solidFill>
              </a:rPr>
              <a:t>Официальные требования к смартфонам для работы с МП ЛесЕГАИС до сих пор не опубликованы</a:t>
            </a:r>
            <a:endParaRPr lang="ru-RU" sz="2000" b="0" dirty="0">
              <a:solidFill>
                <a:srgbClr val="006736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71600" y="1383878"/>
            <a:ext cx="6120680" cy="15841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Операционная </a:t>
            </a:r>
            <a:r>
              <a:rPr lang="ru-RU" sz="1200" dirty="0">
                <a:solidFill>
                  <a:schemeClr val="tx1"/>
                </a:solidFill>
              </a:rPr>
              <a:t>система: </a:t>
            </a:r>
            <a:r>
              <a:rPr lang="ru-RU" sz="1200" dirty="0" err="1">
                <a:solidFill>
                  <a:schemeClr val="tx1"/>
                </a:solidFill>
              </a:rPr>
              <a:t>Android</a:t>
            </a:r>
            <a:r>
              <a:rPr lang="ru-RU" sz="1200" dirty="0">
                <a:solidFill>
                  <a:schemeClr val="tx1"/>
                </a:solidFill>
              </a:rPr>
              <a:t> 10+ или </a:t>
            </a:r>
            <a:r>
              <a:rPr lang="ru-RU" sz="1200" dirty="0" err="1">
                <a:solidFill>
                  <a:schemeClr val="tx1"/>
                </a:solidFill>
              </a:rPr>
              <a:t>iOS</a:t>
            </a:r>
            <a:r>
              <a:rPr lang="ru-RU" sz="1200" dirty="0">
                <a:solidFill>
                  <a:schemeClr val="tx1"/>
                </a:solidFill>
              </a:rPr>
              <a:t> 15+; 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Размер </a:t>
            </a:r>
            <a:r>
              <a:rPr lang="ru-RU" sz="1200" dirty="0">
                <a:solidFill>
                  <a:schemeClr val="tx1"/>
                </a:solidFill>
              </a:rPr>
              <a:t>ОЗУ(RAM): от 3 ГБ; 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Поддержка </a:t>
            </a:r>
            <a:r>
              <a:rPr lang="ru-RU" sz="1200" dirty="0">
                <a:solidFill>
                  <a:schemeClr val="tx1"/>
                </a:solidFill>
              </a:rPr>
              <a:t>3G, 4G; 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Поддержка </a:t>
            </a:r>
            <a:r>
              <a:rPr lang="ru-RU" sz="1200" dirty="0">
                <a:solidFill>
                  <a:schemeClr val="tx1"/>
                </a:solidFill>
              </a:rPr>
              <a:t>GPS/A-GPS, </a:t>
            </a:r>
            <a:r>
              <a:rPr lang="ru-RU" sz="1200" dirty="0" err="1">
                <a:solidFill>
                  <a:schemeClr val="tx1"/>
                </a:solidFill>
              </a:rPr>
              <a:t>Глонасс</a:t>
            </a:r>
            <a:r>
              <a:rPr lang="ru-RU" sz="1200" dirty="0">
                <a:solidFill>
                  <a:schemeClr val="tx1"/>
                </a:solidFill>
              </a:rPr>
              <a:t>; 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Поддержка </a:t>
            </a:r>
            <a:r>
              <a:rPr lang="ru-RU" sz="1200" dirty="0" err="1">
                <a:solidFill>
                  <a:schemeClr val="tx1"/>
                </a:solidFill>
              </a:rPr>
              <a:t>WiFi</a:t>
            </a:r>
            <a:r>
              <a:rPr lang="ru-RU" sz="1200" dirty="0">
                <a:solidFill>
                  <a:schemeClr val="tx1"/>
                </a:solidFill>
              </a:rPr>
              <a:t>; 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Размер </a:t>
            </a:r>
            <a:r>
              <a:rPr lang="ru-RU" sz="1200" dirty="0">
                <a:solidFill>
                  <a:schemeClr val="tx1"/>
                </a:solidFill>
              </a:rPr>
              <a:t>встроенной памяти: от 16 ГБ; 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Разрешение </a:t>
            </a:r>
            <a:r>
              <a:rPr lang="ru-RU" sz="1200" dirty="0">
                <a:solidFill>
                  <a:schemeClr val="tx1"/>
                </a:solidFill>
              </a:rPr>
              <a:t>основной камеры: от 10 МП; 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Емкость </a:t>
            </a:r>
            <a:r>
              <a:rPr lang="ru-RU" sz="1200" dirty="0">
                <a:solidFill>
                  <a:schemeClr val="tx1"/>
                </a:solidFill>
              </a:rPr>
              <a:t>аккумуляторной батареи: от 3000 </a:t>
            </a:r>
            <a:r>
              <a:rPr lang="ru-RU" sz="1200" dirty="0" err="1">
                <a:solidFill>
                  <a:schemeClr val="tx1"/>
                </a:solidFill>
              </a:rPr>
              <a:t>мАч</a:t>
            </a:r>
            <a:r>
              <a:rPr lang="ru-RU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79172" y="1120163"/>
            <a:ext cx="69847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 smtClean="0"/>
              <a:t>Неофициальные требования к смартфонам для работы с МП ЛесЕГАИС</a:t>
            </a:r>
            <a:r>
              <a:rPr lang="ru-RU" sz="1200" b="1" dirty="0"/>
              <a:t>: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13632496"/>
              </p:ext>
            </p:extLst>
          </p:nvPr>
        </p:nvGraphicFramePr>
        <p:xfrm>
          <a:off x="696616" y="3927553"/>
          <a:ext cx="7349887" cy="17096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03662">
                  <a:extLst>
                    <a:ext uri="{9D8B030D-6E8A-4147-A177-3AD203B41FA5}">
                      <a16:colId xmlns:a16="http://schemas.microsoft.com/office/drawing/2014/main" xmlns="" val="2557296836"/>
                    </a:ext>
                  </a:extLst>
                </a:gridCol>
                <a:gridCol w="1122123">
                  <a:extLst>
                    <a:ext uri="{9D8B030D-6E8A-4147-A177-3AD203B41FA5}">
                      <a16:colId xmlns:a16="http://schemas.microsoft.com/office/drawing/2014/main" xmlns="" val="330597686"/>
                    </a:ext>
                  </a:extLst>
                </a:gridCol>
                <a:gridCol w="1549019">
                  <a:extLst>
                    <a:ext uri="{9D8B030D-6E8A-4147-A177-3AD203B41FA5}">
                      <a16:colId xmlns:a16="http://schemas.microsoft.com/office/drawing/2014/main" xmlns="" val="1262521383"/>
                    </a:ext>
                  </a:extLst>
                </a:gridCol>
                <a:gridCol w="1369837">
                  <a:extLst>
                    <a:ext uri="{9D8B030D-6E8A-4147-A177-3AD203B41FA5}">
                      <a16:colId xmlns:a16="http://schemas.microsoft.com/office/drawing/2014/main" xmlns="" val="1298473933"/>
                    </a:ext>
                  </a:extLst>
                </a:gridCol>
                <a:gridCol w="1105246">
                  <a:extLst>
                    <a:ext uri="{9D8B030D-6E8A-4147-A177-3AD203B41FA5}">
                      <a16:colId xmlns:a16="http://schemas.microsoft.com/office/drawing/2014/main" xmlns="" val="424442122"/>
                    </a:ext>
                  </a:extLst>
                </a:gridCol>
              </a:tblGrid>
              <a:tr h="33972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оцесс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Длительность </a:t>
                      </a:r>
                      <a:r>
                        <a:rPr lang="ru-RU" sz="1200" dirty="0" smtClean="0">
                          <a:effectLst/>
                        </a:rPr>
                        <a:t>процесса на различных</a:t>
                      </a:r>
                      <a:r>
                        <a:rPr lang="ru-RU" sz="1200" baseline="0" dirty="0" smtClean="0">
                          <a:effectLst/>
                        </a:rPr>
                        <a:t> устройствах</a:t>
                      </a:r>
                      <a:r>
                        <a:rPr lang="ru-RU" sz="1200" dirty="0" smtClean="0">
                          <a:effectLst/>
                        </a:rPr>
                        <a:t>, </a:t>
                      </a:r>
                      <a:r>
                        <a:rPr lang="ru-RU" sz="1200" dirty="0">
                          <a:effectLst/>
                        </a:rPr>
                        <a:t>минут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90526923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Xiaomi redmi note 9, 4/12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Samsung </a:t>
                      </a:r>
                      <a:r>
                        <a:rPr lang="en-US" sz="1200">
                          <a:effectLst/>
                        </a:rPr>
                        <a:t>G</a:t>
                      </a:r>
                      <a:r>
                        <a:rPr lang="ru-RU" sz="1200">
                          <a:effectLst/>
                        </a:rPr>
                        <a:t>alaxy Tab </a:t>
                      </a:r>
                      <a:r>
                        <a:rPr lang="en-US" sz="1200">
                          <a:effectLst/>
                        </a:rPr>
                        <a:t>S</a:t>
                      </a:r>
                      <a:r>
                        <a:rPr lang="ru-RU" sz="1200">
                          <a:effectLst/>
                        </a:rPr>
                        <a:t>6, 6/12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Samsung GalaxyS8 4/6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Samsung A12, 3/3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307173877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инхронизация первичных документов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7989959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оздание ЭСД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облем и задержек не возникло ни на одном устройстве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50934721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одписание и публикация ЭСД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&gt;4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&gt;4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224185773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678497" y="5974348"/>
            <a:ext cx="7324396" cy="52322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Резюме: МП ЛесЕГАИС.</a:t>
            </a:r>
            <a:r>
              <a:rPr lang="en-US" sz="1400" dirty="0"/>
              <a:t>mobile</a:t>
            </a:r>
            <a:r>
              <a:rPr lang="ru-RU" sz="1400" dirty="0"/>
              <a:t> в режиме офлайн не работает корректно на всех типах устройств, соответствующих неофициальным требованиям к таким </a:t>
            </a:r>
            <a:r>
              <a:rPr lang="ru-RU" sz="1400" dirty="0" smtClean="0"/>
              <a:t>устройствам</a:t>
            </a:r>
            <a:endParaRPr lang="ru-RU" sz="14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755576" y="3441866"/>
            <a:ext cx="69847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Результаты тестирования различных мобильных устройств при работе с МП ЛесЕГАИС.</a:t>
            </a:r>
            <a:r>
              <a:rPr lang="en-US" sz="1200" b="1" dirty="0"/>
              <a:t>mobile</a:t>
            </a:r>
            <a:r>
              <a:rPr lang="ru-RU" sz="1200" b="1" dirty="0"/>
              <a:t> в режиме офлайн (по состоянию на 19.01.22.)</a:t>
            </a:r>
          </a:p>
        </p:txBody>
      </p:sp>
      <p:sp>
        <p:nvSpPr>
          <p:cNvPr id="5" name="Стрелка вниз 4"/>
          <p:cNvSpPr/>
          <p:nvPr/>
        </p:nvSpPr>
        <p:spPr>
          <a:xfrm>
            <a:off x="3491880" y="5662293"/>
            <a:ext cx="848815" cy="286987"/>
          </a:xfrm>
          <a:prstGeom prst="downArrow">
            <a:avLst/>
          </a:prstGeom>
          <a:solidFill>
            <a:srgbClr val="FF9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02640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58424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44083"/>
            <a:endParaRPr lang="ru-RU" sz="166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754" y="44624"/>
            <a:ext cx="7743629" cy="792088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>
                <a:solidFill>
                  <a:srgbClr val="006736"/>
                </a:solidFill>
              </a:rPr>
              <a:t>Основные элементы работы с модернизированной ЛесЕГАИС и мобильным приложением ЛесЕГАИС.</a:t>
            </a:r>
            <a:r>
              <a:rPr lang="en-US" sz="2000" b="0" dirty="0">
                <a:solidFill>
                  <a:srgbClr val="006736"/>
                </a:solidFill>
              </a:rPr>
              <a:t>mobile (</a:t>
            </a:r>
            <a:r>
              <a:rPr lang="ru-RU" sz="2000" b="0" dirty="0">
                <a:solidFill>
                  <a:srgbClr val="006736"/>
                </a:solidFill>
              </a:rPr>
              <a:t>МП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29713" y="1772816"/>
            <a:ext cx="8280920" cy="39604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400" dirty="0" smtClean="0">
                <a:solidFill>
                  <a:schemeClr val="tx1"/>
                </a:solidFill>
              </a:rPr>
              <a:t>ЭСД может быть оформлено в МП (онлайн или офлайн) или </a:t>
            </a:r>
            <a:r>
              <a:rPr lang="ru-RU" sz="1400" dirty="0">
                <a:solidFill>
                  <a:schemeClr val="tx1"/>
                </a:solidFill>
              </a:rPr>
              <a:t>на </a:t>
            </a:r>
            <a:r>
              <a:rPr lang="ru-RU" sz="1400" dirty="0" smtClean="0">
                <a:solidFill>
                  <a:schemeClr val="tx1"/>
                </a:solidFill>
              </a:rPr>
              <a:t>сайте ЛесЕГАИС (только онлайн);</a:t>
            </a:r>
            <a:endParaRPr lang="ru-RU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400" dirty="0">
                <a:solidFill>
                  <a:schemeClr val="tx1"/>
                </a:solidFill>
              </a:rPr>
              <a:t>МП и сайт ЛесЕГАИС синхронизируются между собой в зоне онлайн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400" dirty="0" smtClean="0">
                <a:solidFill>
                  <a:schemeClr val="tx1"/>
                </a:solidFill>
              </a:rPr>
              <a:t>МП </a:t>
            </a:r>
            <a:r>
              <a:rPr lang="ru-RU" sz="1400" dirty="0">
                <a:solidFill>
                  <a:schemeClr val="tx1"/>
                </a:solidFill>
              </a:rPr>
              <a:t>размещено </a:t>
            </a:r>
            <a:r>
              <a:rPr lang="ru-RU" sz="1400" dirty="0" smtClean="0">
                <a:solidFill>
                  <a:schemeClr val="tx1"/>
                </a:solidFill>
              </a:rPr>
              <a:t>(с 31.12.21.) в </a:t>
            </a:r>
            <a:r>
              <a:rPr lang="ru-RU" sz="1400" dirty="0">
                <a:solidFill>
                  <a:schemeClr val="tx1"/>
                </a:solidFill>
              </a:rPr>
              <a:t>открытом доступе для скачивания </a:t>
            </a:r>
            <a:r>
              <a:rPr lang="ru-RU" sz="1400" dirty="0" smtClean="0">
                <a:solidFill>
                  <a:schemeClr val="tx1"/>
                </a:solidFill>
              </a:rPr>
              <a:t>бесплатно в </a:t>
            </a:r>
            <a:r>
              <a:rPr lang="en-US" sz="1400" dirty="0">
                <a:solidFill>
                  <a:schemeClr val="tx1"/>
                </a:solidFill>
              </a:rPr>
              <a:t>App Store </a:t>
            </a:r>
            <a:r>
              <a:rPr lang="ru-RU" sz="1400" dirty="0">
                <a:solidFill>
                  <a:schemeClr val="tx1"/>
                </a:solidFill>
              </a:rPr>
              <a:t>и </a:t>
            </a:r>
            <a:r>
              <a:rPr lang="en-US" sz="1400" dirty="0">
                <a:solidFill>
                  <a:schemeClr val="tx1"/>
                </a:solidFill>
              </a:rPr>
              <a:t>Google Play market</a:t>
            </a:r>
            <a:r>
              <a:rPr lang="ru-RU" sz="1400" dirty="0">
                <a:solidFill>
                  <a:schemeClr val="tx1"/>
                </a:solidFill>
              </a:rPr>
              <a:t>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400" dirty="0" smtClean="0">
                <a:solidFill>
                  <a:schemeClr val="tx1"/>
                </a:solidFill>
              </a:rPr>
              <a:t>Авторизация на сайте ЛесЕГАИС и в МП только через ЕСИА* (</a:t>
            </a:r>
            <a:r>
              <a:rPr lang="ru-RU" sz="1400" dirty="0" err="1" smtClean="0">
                <a:solidFill>
                  <a:schemeClr val="tx1"/>
                </a:solidFill>
              </a:rPr>
              <a:t>Госулсуги</a:t>
            </a:r>
            <a:r>
              <a:rPr lang="ru-RU" sz="1400" dirty="0" smtClean="0">
                <a:solidFill>
                  <a:schemeClr val="tx1"/>
                </a:solidFill>
              </a:rPr>
              <a:t>);</a:t>
            </a:r>
            <a:endParaRPr lang="en-US" sz="1400" dirty="0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400" dirty="0" smtClean="0">
                <a:solidFill>
                  <a:schemeClr val="tx1"/>
                </a:solidFill>
              </a:rPr>
              <a:t>Пользователь МП должен быть прикреплен к Личному кабинету организации на Госуслугах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400" dirty="0" smtClean="0">
                <a:solidFill>
                  <a:schemeClr val="tx1"/>
                </a:solidFill>
              </a:rPr>
              <a:t>При оформлении ЭСД формируется </a:t>
            </a:r>
            <a:r>
              <a:rPr lang="en-US" sz="1400" dirty="0" smtClean="0">
                <a:solidFill>
                  <a:schemeClr val="tx1"/>
                </a:solidFill>
              </a:rPr>
              <a:t>QR </a:t>
            </a:r>
            <a:r>
              <a:rPr lang="ru-RU" sz="1400" dirty="0" smtClean="0">
                <a:solidFill>
                  <a:schemeClr val="tx1"/>
                </a:solidFill>
              </a:rPr>
              <a:t>код, в котором шифруется основная информация из ЭСД и который может быть распознан онлайн или офлайн с помощью МП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400" dirty="0" smtClean="0">
                <a:solidFill>
                  <a:schemeClr val="tx1"/>
                </a:solidFill>
              </a:rPr>
              <a:t>При оформлении и гашении ЭСД автоматически фиксируются в МП или на сайте координаты места оформления и места гашения ЭСД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27888" y="6453336"/>
            <a:ext cx="623234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*- ЕСИА – Единая система идентификации и аутентификации. 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xmlns="" val="1842035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65583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44083"/>
            <a:endParaRPr lang="ru-RU" sz="166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754" y="44624"/>
            <a:ext cx="7743629" cy="792088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 smtClean="0">
                <a:solidFill>
                  <a:srgbClr val="006736"/>
                </a:solidFill>
              </a:rPr>
              <a:t>Интерфейс мобильного приложения ЛесЕГАИС.</a:t>
            </a:r>
            <a:r>
              <a:rPr lang="en-US" sz="2000" b="0" dirty="0" smtClean="0">
                <a:solidFill>
                  <a:srgbClr val="006736"/>
                </a:solidFill>
              </a:rPr>
              <a:t>mobile</a:t>
            </a:r>
            <a:r>
              <a:rPr lang="ru-RU" sz="2000" b="0" dirty="0" smtClean="0">
                <a:solidFill>
                  <a:srgbClr val="006736"/>
                </a:solidFill>
              </a:rPr>
              <a:t> достаточно простой</a:t>
            </a:r>
            <a:endParaRPr lang="ru-RU" sz="2000" b="0" dirty="0">
              <a:solidFill>
                <a:srgbClr val="006736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22568" y="1340768"/>
            <a:ext cx="2018386" cy="3590036"/>
          </a:xfrm>
          <a:prstGeom prst="rect">
            <a:avLst/>
          </a:prstGeom>
          <a:ln>
            <a:solidFill>
              <a:srgbClr val="FFC000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08152" y="1330626"/>
            <a:ext cx="2024088" cy="3600177"/>
          </a:xfrm>
          <a:prstGeom prst="rect">
            <a:avLst/>
          </a:prstGeom>
          <a:ln>
            <a:solidFill>
              <a:srgbClr val="FFC000"/>
            </a:solidFill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47912" y="1330626"/>
            <a:ext cx="2024088" cy="3600177"/>
          </a:xfrm>
          <a:prstGeom prst="rect">
            <a:avLst/>
          </a:prstGeom>
          <a:ln>
            <a:solidFill>
              <a:srgbClr val="FFC000"/>
            </a:solidFill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7013"/>
          <a:stretch/>
        </p:blipFill>
        <p:spPr>
          <a:xfrm>
            <a:off x="245888" y="1340767"/>
            <a:ext cx="2158008" cy="3569219"/>
          </a:xfrm>
          <a:prstGeom prst="rect">
            <a:avLst/>
          </a:prstGeom>
          <a:ln>
            <a:solidFill>
              <a:srgbClr val="FFC000"/>
            </a:solidFill>
          </a:ln>
        </p:spPr>
      </p:pic>
      <p:sp>
        <p:nvSpPr>
          <p:cNvPr id="16" name="Шеврон 15"/>
          <p:cNvSpPr/>
          <p:nvPr/>
        </p:nvSpPr>
        <p:spPr>
          <a:xfrm>
            <a:off x="317880" y="5301206"/>
            <a:ext cx="2086016" cy="646331"/>
          </a:xfrm>
          <a:prstGeom prst="chevron">
            <a:avLst>
              <a:gd name="adj" fmla="val 14212"/>
            </a:avLst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Скачивание МП </a:t>
            </a:r>
            <a:r>
              <a:rPr lang="ru-RU" sz="1200" dirty="0">
                <a:solidFill>
                  <a:srgbClr val="006736"/>
                </a:solidFill>
              </a:rPr>
              <a:t>ЛесЕГАИС.</a:t>
            </a:r>
            <a:r>
              <a:rPr lang="en-US" sz="1200" dirty="0">
                <a:solidFill>
                  <a:srgbClr val="006736"/>
                </a:solidFill>
              </a:rPr>
              <a:t>mobile</a:t>
            </a:r>
            <a:r>
              <a:rPr lang="ru-RU" sz="1200" dirty="0">
                <a:solidFill>
                  <a:srgbClr val="006736"/>
                </a:solidFill>
              </a:rPr>
              <a:t> </a:t>
            </a:r>
            <a:r>
              <a:rPr lang="ru-RU" sz="1200" dirty="0"/>
              <a:t>с </a:t>
            </a:r>
            <a:r>
              <a:rPr lang="en-US" sz="1200" dirty="0"/>
              <a:t>App Store </a:t>
            </a:r>
            <a:r>
              <a:rPr lang="ru-RU" sz="1200" dirty="0"/>
              <a:t>или </a:t>
            </a:r>
            <a:r>
              <a:rPr lang="en-US" sz="1200" dirty="0"/>
              <a:t>Play Market</a:t>
            </a:r>
            <a:endParaRPr lang="ru-RU" sz="1200" dirty="0"/>
          </a:p>
        </p:txBody>
      </p:sp>
      <p:sp>
        <p:nvSpPr>
          <p:cNvPr id="17" name="Шеврон 16"/>
          <p:cNvSpPr/>
          <p:nvPr/>
        </p:nvSpPr>
        <p:spPr>
          <a:xfrm>
            <a:off x="2419624" y="5301207"/>
            <a:ext cx="2080368" cy="646331"/>
          </a:xfrm>
          <a:prstGeom prst="chevron">
            <a:avLst>
              <a:gd name="adj" fmla="val 14212"/>
            </a:avLst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Авторизация через ЕСИА и синхронизация справочников</a:t>
            </a:r>
          </a:p>
        </p:txBody>
      </p:sp>
      <p:sp>
        <p:nvSpPr>
          <p:cNvPr id="18" name="Шеврон 17"/>
          <p:cNvSpPr/>
          <p:nvPr/>
        </p:nvSpPr>
        <p:spPr>
          <a:xfrm>
            <a:off x="4499992" y="5301207"/>
            <a:ext cx="2160240" cy="646331"/>
          </a:xfrm>
          <a:prstGeom prst="chevron">
            <a:avLst>
              <a:gd name="adj" fmla="val 14212"/>
            </a:avLst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Нажатие кнопки </a:t>
            </a:r>
            <a:r>
              <a:rPr lang="ru-RU" sz="1200" dirty="0" smtClean="0"/>
              <a:t>«+» </a:t>
            </a:r>
            <a:r>
              <a:rPr lang="ru-RU" sz="1200" dirty="0"/>
              <a:t>для начала формирования документа</a:t>
            </a:r>
          </a:p>
        </p:txBody>
      </p:sp>
      <p:sp>
        <p:nvSpPr>
          <p:cNvPr id="19" name="Шеврон 18"/>
          <p:cNvSpPr/>
          <p:nvPr/>
        </p:nvSpPr>
        <p:spPr>
          <a:xfrm>
            <a:off x="6660232" y="5301208"/>
            <a:ext cx="2309904" cy="646331"/>
          </a:xfrm>
          <a:prstGeom prst="chevron">
            <a:avLst>
              <a:gd name="adj" fmla="val 14212"/>
            </a:avLst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Выбор вида документа для формирования и </a:t>
            </a:r>
            <a:r>
              <a:rPr lang="ru-RU" sz="1200" dirty="0" smtClean="0"/>
              <a:t>вперед к созданию </a:t>
            </a:r>
            <a:r>
              <a:rPr lang="en-US" sz="1200" dirty="0" smtClean="0"/>
              <a:t>QR </a:t>
            </a:r>
            <a:r>
              <a:rPr lang="ru-RU" sz="1200" dirty="0" smtClean="0"/>
              <a:t>кода</a:t>
            </a:r>
            <a:endParaRPr lang="ru-RU" sz="12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427888" y="6453336"/>
            <a:ext cx="623234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Примечание. ОПП – Отчет о продукции переработки древесины.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xmlns="" val="251483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66610" name="Слайд think-cell" r:id="rId5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44083"/>
            <a:endParaRPr lang="ru-RU" sz="166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754" y="44624"/>
            <a:ext cx="7743629" cy="936104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 smtClean="0">
                <a:solidFill>
                  <a:srgbClr val="006736"/>
                </a:solidFill>
              </a:rPr>
              <a:t>После полностью правильно заполненного ЭСД с помощью МП при </a:t>
            </a:r>
            <a:r>
              <a:rPr lang="ru-RU" sz="2000" b="0" dirty="0">
                <a:solidFill>
                  <a:srgbClr val="006736"/>
                </a:solidFill>
              </a:rPr>
              <a:t>считывании </a:t>
            </a:r>
            <a:r>
              <a:rPr lang="en-US" sz="2000" b="0" dirty="0">
                <a:solidFill>
                  <a:srgbClr val="006736"/>
                </a:solidFill>
              </a:rPr>
              <a:t>QR </a:t>
            </a:r>
            <a:r>
              <a:rPr lang="ru-RU" sz="2000" b="0" dirty="0">
                <a:solidFill>
                  <a:srgbClr val="006736"/>
                </a:solidFill>
              </a:rPr>
              <a:t>кода распознается </a:t>
            </a:r>
            <a:r>
              <a:rPr lang="ru-RU" sz="2000" b="0" dirty="0" smtClean="0">
                <a:solidFill>
                  <a:srgbClr val="006736"/>
                </a:solidFill>
              </a:rPr>
              <a:t>только незначительная часть обязательной информации, содержащейся в ЭСД</a:t>
            </a:r>
            <a:endParaRPr lang="ru-RU" sz="2000" b="0" dirty="0">
              <a:solidFill>
                <a:srgbClr val="006736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76560" y="1102431"/>
            <a:ext cx="2343100" cy="5206890"/>
          </a:xfrm>
          <a:prstGeom prst="rect">
            <a:avLst/>
          </a:prstGeom>
          <a:ln>
            <a:solidFill>
              <a:srgbClr val="FFC000"/>
            </a:solidFill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84272" y="1102431"/>
            <a:ext cx="2343101" cy="5206889"/>
          </a:xfrm>
          <a:prstGeom prst="rect">
            <a:avLst/>
          </a:prstGeom>
          <a:ln>
            <a:solidFill>
              <a:srgbClr val="FFC000"/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6276"/>
          <a:stretch/>
        </p:blipFill>
        <p:spPr>
          <a:xfrm>
            <a:off x="283602" y="1916832"/>
            <a:ext cx="2343100" cy="3838736"/>
          </a:xfrm>
          <a:prstGeom prst="rect">
            <a:avLst/>
          </a:prstGeom>
          <a:ln>
            <a:solidFill>
              <a:srgbClr val="FFC000"/>
            </a:solidFill>
          </a:ln>
        </p:spPr>
      </p:pic>
      <p:sp>
        <p:nvSpPr>
          <p:cNvPr id="14" name="Прямоугольник 13"/>
          <p:cNvSpPr/>
          <p:nvPr/>
        </p:nvSpPr>
        <p:spPr>
          <a:xfrm>
            <a:off x="4100296" y="6309320"/>
            <a:ext cx="227190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 – корректно заполненные поля</a:t>
            </a:r>
            <a:endParaRPr lang="ru-RU" sz="10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692584" y="6318612"/>
            <a:ext cx="227190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 – некорректно заполненные поля</a:t>
            </a:r>
            <a:endParaRPr lang="ru-RU" sz="1000" dirty="0"/>
          </a:p>
        </p:txBody>
      </p:sp>
      <p:sp>
        <p:nvSpPr>
          <p:cNvPr id="17" name="Овал 16"/>
          <p:cNvSpPr/>
          <p:nvPr/>
        </p:nvSpPr>
        <p:spPr>
          <a:xfrm>
            <a:off x="8564792" y="2780928"/>
            <a:ext cx="144016" cy="144016"/>
          </a:xfrm>
          <a:prstGeom prst="ellipse">
            <a:avLst/>
          </a:prstGeom>
          <a:solidFill>
            <a:srgbClr val="82C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4604352" y="2132856"/>
            <a:ext cx="144016" cy="144016"/>
          </a:xfrm>
          <a:prstGeom prst="ellipse">
            <a:avLst/>
          </a:prstGeom>
          <a:solidFill>
            <a:srgbClr val="82C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4777509" y="2780928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/>
          <p:cNvSpPr/>
          <p:nvPr/>
        </p:nvSpPr>
        <p:spPr>
          <a:xfrm>
            <a:off x="4388328" y="2420888"/>
            <a:ext cx="144016" cy="144016"/>
          </a:xfrm>
          <a:prstGeom prst="ellipse">
            <a:avLst/>
          </a:prstGeom>
          <a:solidFill>
            <a:srgbClr val="82C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/>
          <p:cNvSpPr/>
          <p:nvPr/>
        </p:nvSpPr>
        <p:spPr>
          <a:xfrm>
            <a:off x="5468448" y="1772816"/>
            <a:ext cx="144016" cy="144016"/>
          </a:xfrm>
          <a:prstGeom prst="ellipse">
            <a:avLst/>
          </a:prstGeom>
          <a:solidFill>
            <a:srgbClr val="82C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5900496" y="4221088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5902659" y="5013176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5900496" y="5805264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8551404" y="1988840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/>
          <p:cNvSpPr/>
          <p:nvPr/>
        </p:nvSpPr>
        <p:spPr>
          <a:xfrm>
            <a:off x="8551404" y="3284984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/>
          <p:cNvSpPr/>
          <p:nvPr/>
        </p:nvSpPr>
        <p:spPr>
          <a:xfrm>
            <a:off x="8551404" y="3753036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/>
          <p:cNvSpPr/>
          <p:nvPr/>
        </p:nvSpPr>
        <p:spPr>
          <a:xfrm>
            <a:off x="7124632" y="4869160"/>
            <a:ext cx="144016" cy="144016"/>
          </a:xfrm>
          <a:prstGeom prst="ellipse">
            <a:avLst/>
          </a:prstGeom>
          <a:solidFill>
            <a:srgbClr val="82C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/>
          <p:cNvSpPr/>
          <p:nvPr/>
        </p:nvSpPr>
        <p:spPr>
          <a:xfrm>
            <a:off x="7684520" y="4581128"/>
            <a:ext cx="144016" cy="144016"/>
          </a:xfrm>
          <a:prstGeom prst="ellipse">
            <a:avLst/>
          </a:prstGeom>
          <a:solidFill>
            <a:srgbClr val="82C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/>
          <p:cNvSpPr/>
          <p:nvPr/>
        </p:nvSpPr>
        <p:spPr>
          <a:xfrm>
            <a:off x="7124632" y="6021288"/>
            <a:ext cx="144016" cy="144016"/>
          </a:xfrm>
          <a:prstGeom prst="ellipse">
            <a:avLst/>
          </a:prstGeom>
          <a:solidFill>
            <a:srgbClr val="82C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/>
          <p:cNvSpPr/>
          <p:nvPr/>
        </p:nvSpPr>
        <p:spPr>
          <a:xfrm>
            <a:off x="7118479" y="5715644"/>
            <a:ext cx="144016" cy="144016"/>
          </a:xfrm>
          <a:prstGeom prst="ellipse">
            <a:avLst/>
          </a:prstGeom>
          <a:solidFill>
            <a:srgbClr val="82C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Овал 31"/>
          <p:cNvSpPr/>
          <p:nvPr/>
        </p:nvSpPr>
        <p:spPr>
          <a:xfrm>
            <a:off x="7684520" y="5445224"/>
            <a:ext cx="144016" cy="144016"/>
          </a:xfrm>
          <a:prstGeom prst="ellipse">
            <a:avLst/>
          </a:prstGeom>
          <a:solidFill>
            <a:srgbClr val="82C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Овал 32"/>
          <p:cNvSpPr/>
          <p:nvPr/>
        </p:nvSpPr>
        <p:spPr>
          <a:xfrm>
            <a:off x="3983325" y="6369714"/>
            <a:ext cx="144016" cy="144016"/>
          </a:xfrm>
          <a:prstGeom prst="ellipse">
            <a:avLst/>
          </a:prstGeom>
          <a:solidFill>
            <a:srgbClr val="82C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33"/>
          <p:cNvSpPr/>
          <p:nvPr/>
        </p:nvSpPr>
        <p:spPr>
          <a:xfrm>
            <a:off x="6620576" y="6369714"/>
            <a:ext cx="144016" cy="144016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1275619" y="6537443"/>
            <a:ext cx="78810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/>
              <a:t>Также в </a:t>
            </a:r>
            <a:r>
              <a:rPr lang="en-US" sz="1000" dirty="0" smtClean="0"/>
              <a:t>QR </a:t>
            </a:r>
            <a:r>
              <a:rPr lang="ru-RU" sz="1000" dirty="0" smtClean="0"/>
              <a:t>коде не зашифровываются координаты места оформления ЭСД, хотя они и фиксируются при его оформлении.</a:t>
            </a:r>
            <a:endParaRPr lang="ru-RU" sz="1000" dirty="0"/>
          </a:p>
        </p:txBody>
      </p:sp>
      <p:sp>
        <p:nvSpPr>
          <p:cNvPr id="36" name="Пятиугольник 35"/>
          <p:cNvSpPr/>
          <p:nvPr/>
        </p:nvSpPr>
        <p:spPr>
          <a:xfrm rot="5400000">
            <a:off x="1162776" y="235803"/>
            <a:ext cx="769775" cy="2448272"/>
          </a:xfrm>
          <a:prstGeom prst="homePlate">
            <a:avLst>
              <a:gd name="adj" fmla="val 19148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После правильного  заполнения всех полей и подписания ЭСД в МП создается </a:t>
            </a:r>
            <a:r>
              <a:rPr lang="en-US" sz="1200" dirty="0" smtClean="0">
                <a:solidFill>
                  <a:schemeClr val="bg1"/>
                </a:solidFill>
              </a:rPr>
              <a:t>QR </a:t>
            </a:r>
            <a:r>
              <a:rPr lang="ru-RU" sz="1200" dirty="0" smtClean="0">
                <a:solidFill>
                  <a:schemeClr val="bg1"/>
                </a:solidFill>
              </a:rPr>
              <a:t>код и уникальный </a:t>
            </a:r>
            <a:r>
              <a:rPr lang="en-US" sz="1200" dirty="0" smtClean="0">
                <a:solidFill>
                  <a:schemeClr val="bg1"/>
                </a:solidFill>
              </a:rPr>
              <a:t>ID</a:t>
            </a:r>
            <a:r>
              <a:rPr lang="ru-RU" sz="1200" dirty="0" smtClean="0">
                <a:solidFill>
                  <a:schemeClr val="bg1"/>
                </a:solidFill>
              </a:rPr>
              <a:t> ЭСД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53596" y="5805265"/>
            <a:ext cx="2518204" cy="57606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При считывании </a:t>
            </a:r>
            <a:r>
              <a:rPr lang="en-US" sz="1200" dirty="0">
                <a:solidFill>
                  <a:schemeClr val="bg1"/>
                </a:solidFill>
              </a:rPr>
              <a:t>QR </a:t>
            </a:r>
            <a:r>
              <a:rPr lang="ru-RU" sz="1200" dirty="0">
                <a:solidFill>
                  <a:schemeClr val="bg1"/>
                </a:solidFill>
              </a:rPr>
              <a:t>кода </a:t>
            </a:r>
            <a:r>
              <a:rPr lang="ru-RU" sz="1200" dirty="0" smtClean="0">
                <a:solidFill>
                  <a:schemeClr val="bg1"/>
                </a:solidFill>
              </a:rPr>
              <a:t>с помощью МП можно </a:t>
            </a:r>
            <a:r>
              <a:rPr lang="ru-RU" sz="1200" dirty="0">
                <a:solidFill>
                  <a:schemeClr val="bg1"/>
                </a:solidFill>
              </a:rPr>
              <a:t>увидеть вот такую информацию </a:t>
            </a:r>
            <a:r>
              <a:rPr lang="ru-RU" sz="1200" dirty="0" smtClean="0">
                <a:solidFill>
                  <a:schemeClr val="bg1"/>
                </a:solidFill>
              </a:rPr>
              <a:t>об ЭСД</a:t>
            </a:r>
            <a:endParaRPr lang="ru-RU" sz="1200" dirty="0">
              <a:solidFill>
                <a:schemeClr val="bg1"/>
              </a:solidFill>
            </a:endParaRPr>
          </a:p>
        </p:txBody>
      </p:sp>
      <p:cxnSp>
        <p:nvCxnSpPr>
          <p:cNvPr id="39" name="Прямая со стрелкой 38"/>
          <p:cNvCxnSpPr/>
          <p:nvPr/>
        </p:nvCxnSpPr>
        <p:spPr>
          <a:xfrm flipV="1">
            <a:off x="2771800" y="1556792"/>
            <a:ext cx="1066698" cy="4248472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 flipV="1">
            <a:off x="2771800" y="6285609"/>
            <a:ext cx="1058305" cy="84105"/>
          </a:xfrm>
          <a:prstGeom prst="straightConnector1">
            <a:avLst/>
          </a:prstGeom>
          <a:ln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066578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extLst/>
          </p:nvPr>
        </p:nvGraphicFramePr>
        <p:xfrm>
          <a:off x="1466" y="265235"/>
          <a:ext cx="1466" cy="1466"/>
        </p:xfrm>
        <a:graphic>
          <a:graphicData uri="http://schemas.openxmlformats.org/presentationml/2006/ole">
            <p:oleObj spid="_x0000_s67632" name="Слайд think-cell" r:id="rId4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263769"/>
            <a:ext cx="146538" cy="1465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44083"/>
            <a:endParaRPr lang="ru-RU" sz="166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228960"/>
            <a:ext cx="7959654" cy="646993"/>
          </a:xfrm>
        </p:spPr>
        <p:txBody>
          <a:bodyPr vert="horz" lIns="84406" tIns="42203" rIns="84406" bIns="42203" rtlCol="0" anchor="b">
            <a:noAutofit/>
          </a:bodyPr>
          <a:lstStyle/>
          <a:p>
            <a:pPr defTabSz="914400"/>
            <a:r>
              <a:rPr lang="ru-RU" sz="2000" b="0" dirty="0" smtClean="0">
                <a:solidFill>
                  <a:srgbClr val="006736"/>
                </a:solidFill>
              </a:rPr>
              <a:t>Текущие формулировки КоАП и предложения Минприроды России по их изменению несут высокие риски для компаний</a:t>
            </a:r>
            <a:endParaRPr lang="ru-RU" sz="2000" b="0" dirty="0">
              <a:solidFill>
                <a:srgbClr val="006736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93544" y="1600689"/>
            <a:ext cx="792934" cy="307777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ЛК РФ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82834" y="2021476"/>
            <a:ext cx="13709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/>
              <a:t>Текущая ситуация</a:t>
            </a:r>
            <a:endParaRPr lang="ru-RU" sz="12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793544" y="2621219"/>
            <a:ext cx="792934" cy="30777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КоАП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943708" y="1340768"/>
            <a:ext cx="3528392" cy="830997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dirty="0" smtClean="0"/>
              <a:t>Транспортировка </a:t>
            </a:r>
            <a:r>
              <a:rPr lang="ru-RU" sz="1200" dirty="0"/>
              <a:t>древесины </a:t>
            </a:r>
            <a:r>
              <a:rPr lang="ru-RU" sz="1200" dirty="0" smtClean="0"/>
              <a:t>…допускается </a:t>
            </a:r>
            <a:r>
              <a:rPr lang="ru-RU" sz="1200" u="sng" dirty="0"/>
              <a:t>после формирования </a:t>
            </a:r>
            <a:r>
              <a:rPr lang="ru-RU" sz="1200" dirty="0"/>
              <a:t>в </a:t>
            </a:r>
            <a:r>
              <a:rPr lang="ru-RU" sz="1200" dirty="0" smtClean="0"/>
              <a:t>ГЛР или </a:t>
            </a:r>
            <a:r>
              <a:rPr lang="ru-RU" sz="1200" dirty="0"/>
              <a:t>с помощью специализированного </a:t>
            </a:r>
            <a:r>
              <a:rPr lang="ru-RU" sz="1200" dirty="0" smtClean="0"/>
              <a:t>ПО электронного </a:t>
            </a:r>
            <a:r>
              <a:rPr lang="ru-RU" sz="1200" dirty="0"/>
              <a:t>сопроводительного документ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943708" y="2284560"/>
            <a:ext cx="3528392" cy="1015663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Транспортировка древесины </a:t>
            </a:r>
            <a:r>
              <a:rPr lang="ru-RU" sz="1200" u="sng" dirty="0"/>
              <a:t>без</a:t>
            </a:r>
            <a:r>
              <a:rPr lang="ru-RU" sz="1200" dirty="0"/>
              <a:t> </a:t>
            </a:r>
            <a:r>
              <a:rPr lang="ru-RU" sz="1200" u="sng" dirty="0"/>
              <a:t>оформленного</a:t>
            </a:r>
            <a:r>
              <a:rPr lang="ru-RU" sz="1200" dirty="0"/>
              <a:t> в установленном лесным законодательством порядке </a:t>
            </a:r>
            <a:r>
              <a:rPr lang="ru-RU" sz="1200" u="sng" dirty="0"/>
              <a:t>сопроводительного </a:t>
            </a:r>
            <a:r>
              <a:rPr lang="ru-RU" sz="1200" u="sng" dirty="0" smtClean="0"/>
              <a:t>документа  - </a:t>
            </a:r>
            <a:r>
              <a:rPr lang="ru-RU" sz="1200" dirty="0" smtClean="0"/>
              <a:t>влечет </a:t>
            </a:r>
            <a:r>
              <a:rPr lang="ru-RU" sz="1200" dirty="0"/>
              <a:t>наложение административного штраф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209527" y="1481814"/>
            <a:ext cx="275496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/>
              <a:t>ЛК РФ требует формирования ЭСД перед транспортировкой, а КоАП требует наличия СД при транспортировке. А </a:t>
            </a:r>
            <a:r>
              <a:rPr lang="en-US" sz="1200" dirty="0" smtClean="0"/>
              <a:t>QR </a:t>
            </a:r>
            <a:r>
              <a:rPr lang="ru-RU" sz="1200" dirty="0" smtClean="0"/>
              <a:t>код не является ЭСД и его предоставление  в текущем виде несет высокие риски наложения штрафа за отсутствие или некорректное оформление ЭСД.</a:t>
            </a:r>
            <a:endParaRPr lang="ru-RU" sz="1200" dirty="0"/>
          </a:p>
        </p:txBody>
      </p:sp>
      <p:sp>
        <p:nvSpPr>
          <p:cNvPr id="4" name="Равнобедренный треугольник 3"/>
          <p:cNvSpPr/>
          <p:nvPr/>
        </p:nvSpPr>
        <p:spPr>
          <a:xfrm rot="5400000">
            <a:off x="5214349" y="2118427"/>
            <a:ext cx="1328306" cy="308749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трелка вправо 4"/>
          <p:cNvSpPr/>
          <p:nvPr/>
        </p:nvSpPr>
        <p:spPr>
          <a:xfrm>
            <a:off x="1621545" y="1481814"/>
            <a:ext cx="288032" cy="550247"/>
          </a:xfrm>
          <a:prstGeom prst="rightArrow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ctr"/>
            <a:endParaRPr lang="ru-RU" sz="1200">
              <a:solidFill>
                <a:schemeClr val="tx1"/>
              </a:solidFill>
            </a:endParaRPr>
          </a:p>
        </p:txBody>
      </p:sp>
      <p:sp>
        <p:nvSpPr>
          <p:cNvPr id="16" name="Стрелка вправо 15"/>
          <p:cNvSpPr/>
          <p:nvPr/>
        </p:nvSpPr>
        <p:spPr>
          <a:xfrm>
            <a:off x="1609780" y="2501227"/>
            <a:ext cx="288032" cy="550247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endParaRPr lang="ru-RU" sz="1200"/>
          </a:p>
        </p:txBody>
      </p:sp>
      <p:sp>
        <p:nvSpPr>
          <p:cNvPr id="17" name="Прямоугольник 16"/>
          <p:cNvSpPr/>
          <p:nvPr/>
        </p:nvSpPr>
        <p:spPr>
          <a:xfrm>
            <a:off x="467544" y="4039590"/>
            <a:ext cx="1118934" cy="461665"/>
          </a:xfrm>
          <a:prstGeom prst="rect">
            <a:avLst/>
          </a:prstGeom>
          <a:solidFill>
            <a:srgbClr val="FF9966"/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dirty="0" smtClean="0"/>
              <a:t>Минприроды России</a:t>
            </a:r>
            <a:endParaRPr lang="ru-RU" sz="12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178642" y="4726864"/>
            <a:ext cx="16967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/>
              <a:t>Предложения по КоАП</a:t>
            </a:r>
            <a:endParaRPr lang="ru-RU" sz="1200" b="1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67544" y="5446310"/>
            <a:ext cx="1118934" cy="307777"/>
          </a:xfrm>
          <a:prstGeom prst="rect">
            <a:avLst/>
          </a:prstGeom>
          <a:solidFill>
            <a:srgbClr val="82C45B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Илим</a:t>
            </a:r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943708" y="3854925"/>
            <a:ext cx="3528392" cy="830997"/>
          </a:xfrm>
          <a:prstGeom prst="rect">
            <a:avLst/>
          </a:prstGeom>
          <a:solidFill>
            <a:srgbClr val="FF9966"/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Транспортировка древесины </a:t>
            </a:r>
            <a:r>
              <a:rPr lang="ru-RU" sz="1200" u="sng" dirty="0"/>
              <a:t>без</a:t>
            </a:r>
            <a:r>
              <a:rPr lang="ru-RU" sz="1200" dirty="0"/>
              <a:t> </a:t>
            </a:r>
            <a:r>
              <a:rPr lang="ru-RU" sz="1200" u="sng" dirty="0"/>
              <a:t>оформленного</a:t>
            </a:r>
            <a:r>
              <a:rPr lang="ru-RU" sz="1200" dirty="0"/>
              <a:t> в установленном лесным законодательством порядке </a:t>
            </a:r>
            <a:r>
              <a:rPr lang="ru-RU" sz="1200" u="sng" dirty="0" smtClean="0"/>
              <a:t>ЭСД</a:t>
            </a:r>
            <a:endParaRPr lang="ru-RU" sz="1200" u="sng" dirty="0"/>
          </a:p>
          <a:p>
            <a:pPr algn="ctr"/>
            <a:r>
              <a:rPr lang="ru-RU" sz="1200" dirty="0"/>
              <a:t>влечет наложение административного штрафа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943708" y="5109651"/>
            <a:ext cx="3528392" cy="1015663"/>
          </a:xfrm>
          <a:prstGeom prst="rect">
            <a:avLst/>
          </a:prstGeom>
          <a:solidFill>
            <a:srgbClr val="82C45B"/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Транспортировка древесины </a:t>
            </a:r>
            <a:r>
              <a:rPr lang="ru-RU" sz="1200" u="sng" dirty="0"/>
              <a:t>без</a:t>
            </a:r>
            <a:r>
              <a:rPr lang="ru-RU" sz="1200" dirty="0"/>
              <a:t> </a:t>
            </a:r>
            <a:r>
              <a:rPr lang="ru-RU" sz="1200" u="sng" dirty="0" smtClean="0"/>
              <a:t>подтверждения оформления ЭСД </a:t>
            </a:r>
            <a:r>
              <a:rPr lang="ru-RU" sz="1200" dirty="0"/>
              <a:t>в установленном лесным законодательством порядке </a:t>
            </a:r>
            <a:r>
              <a:rPr lang="ru-RU" sz="1200" dirty="0" smtClean="0"/>
              <a:t>- влечет </a:t>
            </a:r>
            <a:r>
              <a:rPr lang="ru-RU" sz="1200" dirty="0"/>
              <a:t>наложение административного штрафа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444208" y="3864758"/>
            <a:ext cx="25202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/>
              <a:t>Увеличивает риски наложения штрафа за отсутствие или некорректное оформление ЭСД, </a:t>
            </a:r>
            <a:r>
              <a:rPr lang="en-US" sz="1200" dirty="0" smtClean="0"/>
              <a:t>QR </a:t>
            </a:r>
            <a:r>
              <a:rPr lang="ru-RU" sz="1200" dirty="0" smtClean="0"/>
              <a:t>код не спасет.</a:t>
            </a:r>
            <a:endParaRPr lang="ru-RU" sz="1200" dirty="0"/>
          </a:p>
        </p:txBody>
      </p:sp>
      <p:sp>
        <p:nvSpPr>
          <p:cNvPr id="23" name="Равнобедренный треугольник 22"/>
          <p:cNvSpPr/>
          <p:nvPr/>
        </p:nvSpPr>
        <p:spPr>
          <a:xfrm rot="5400000">
            <a:off x="5432989" y="4108375"/>
            <a:ext cx="815649" cy="308749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право 23"/>
          <p:cNvSpPr/>
          <p:nvPr/>
        </p:nvSpPr>
        <p:spPr>
          <a:xfrm>
            <a:off x="1621545" y="3995971"/>
            <a:ext cx="288032" cy="550247"/>
          </a:xfrm>
          <a:prstGeom prst="rightArrow">
            <a:avLst/>
          </a:prstGeom>
          <a:solidFill>
            <a:srgbClr val="FF9966"/>
          </a:solidFill>
        </p:spPr>
        <p:txBody>
          <a:bodyPr wrap="square">
            <a:spAutoFit/>
          </a:bodyPr>
          <a:lstStyle/>
          <a:p>
            <a:pPr algn="ctr"/>
            <a:endParaRPr lang="ru-RU" sz="1200">
              <a:solidFill>
                <a:schemeClr val="tx1"/>
              </a:solidFill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07504" y="3573016"/>
            <a:ext cx="8856984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Равнобедренный треугольник 26"/>
          <p:cNvSpPr/>
          <p:nvPr/>
        </p:nvSpPr>
        <p:spPr>
          <a:xfrm rot="5400000">
            <a:off x="5432989" y="5437482"/>
            <a:ext cx="815649" cy="308749"/>
          </a:xfrm>
          <a:prstGeom prst="triangle">
            <a:avLst/>
          </a:prstGeom>
          <a:solidFill>
            <a:srgbClr val="82C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6209527" y="5149641"/>
            <a:ext cx="275496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/>
              <a:t>Снижает риски (при условии, что в НПА будет прописано, что </a:t>
            </a:r>
            <a:r>
              <a:rPr lang="en-US" sz="1200" dirty="0" smtClean="0"/>
              <a:t>QR </a:t>
            </a:r>
            <a:r>
              <a:rPr lang="ru-RU" sz="1200" dirty="0" smtClean="0"/>
              <a:t>код является подтверждением формирования ЭСД в соответствии с </a:t>
            </a:r>
            <a:r>
              <a:rPr lang="ru-RU" sz="1200" dirty="0"/>
              <a:t>лесным </a:t>
            </a:r>
            <a:r>
              <a:rPr lang="ru-RU" sz="1200" dirty="0" smtClean="0"/>
              <a:t>законодательством).</a:t>
            </a:r>
            <a:endParaRPr lang="ru-RU" sz="1200" dirty="0"/>
          </a:p>
        </p:txBody>
      </p:sp>
      <p:sp>
        <p:nvSpPr>
          <p:cNvPr id="29" name="Стрелка вправо 28"/>
          <p:cNvSpPr/>
          <p:nvPr/>
        </p:nvSpPr>
        <p:spPr>
          <a:xfrm>
            <a:off x="1629117" y="5325074"/>
            <a:ext cx="288032" cy="550247"/>
          </a:xfrm>
          <a:prstGeom prst="rightArrow">
            <a:avLst/>
          </a:prstGeom>
          <a:solidFill>
            <a:srgbClr val="82C45B"/>
          </a:solidFill>
        </p:spPr>
        <p:txBody>
          <a:bodyPr wrap="square">
            <a:spAutoFit/>
          </a:bodyPr>
          <a:lstStyle/>
          <a:p>
            <a:pPr algn="ctr"/>
            <a:endParaRPr lang="ru-RU" sz="1200"/>
          </a:p>
        </p:txBody>
      </p:sp>
      <p:sp>
        <p:nvSpPr>
          <p:cNvPr id="30" name="Стрелка вниз 29"/>
          <p:cNvSpPr/>
          <p:nvPr/>
        </p:nvSpPr>
        <p:spPr>
          <a:xfrm>
            <a:off x="971600" y="5184032"/>
            <a:ext cx="144016" cy="189184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трелка вниз 30"/>
          <p:cNvSpPr/>
          <p:nvPr/>
        </p:nvSpPr>
        <p:spPr>
          <a:xfrm rot="10800000">
            <a:off x="946240" y="4590319"/>
            <a:ext cx="169376" cy="200028"/>
          </a:xfrm>
          <a:prstGeom prst="downArrow">
            <a:avLst/>
          </a:prstGeom>
          <a:solidFill>
            <a:srgbClr val="FF9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9131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NW0dLXj0qHIWQ3Y_6zU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2uCuReSkq_32MDFMuV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rG52oeL0qtC1VE5wXv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5KtJZNHUKst7GoKkGJ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mlrAEzyLrOeXC99pW4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_MvnlhQjy.Oz5yDEpq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NW0dLXj0qHIWQ3Y_6z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2uCuReSkq_32MDFMuV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rG52oeL0qtC1VE5wXv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5KtJZNHUKst7GoKkGJ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v2HLdqNGSNdVOGnbo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2uCuReSkq_32MDFMuVQ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.D34GhK83DuR4BMcrt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v2HLdqNGSNdVOGnbo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v2HLdqNGSNdVOGnbor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v2HLdqNGSNdVOGnbor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v2HLdqNGSNdVOGnbo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v2HLdqNGSNdVOGnbor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v2HLdqNGSNdVOGnbo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v2HLdqNGSNdVOGnbo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v2HLdqNGSNdVOGnbo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v2HLdqNGSNdVOGnbo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rG52oeL0qtC1VE5wXv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Xv2HLdqNGSNdVOGnbo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5KtJZNHUKst7GoKkGJ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NW0dLXj0qHIWQ3Y_6z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2uCuReSkq_32MDFMuV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rG52oeL0qtC1VE5wXv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5KtJZNHUKst7GoKkGJ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NW0dLXj0qHIWQ3Y_6zUQ"/>
</p:tagLst>
</file>

<file path=ppt/theme/theme1.xml><?xml version="1.0" encoding="utf-8"?>
<a:theme xmlns:a="http://schemas.openxmlformats.org/drawingml/2006/main" name="3_Тема Office">
  <a:themeElements>
    <a:clrScheme name="Илим от Савко">
      <a:dk1>
        <a:srgbClr val="161616"/>
      </a:dk1>
      <a:lt1>
        <a:srgbClr val="FFFFFF"/>
      </a:lt1>
      <a:dk2>
        <a:srgbClr val="F8ED53"/>
      </a:dk2>
      <a:lt2>
        <a:srgbClr val="7F7F7F"/>
      </a:lt2>
      <a:accent1>
        <a:srgbClr val="006736"/>
      </a:accent1>
      <a:accent2>
        <a:srgbClr val="82C45B"/>
      </a:accent2>
      <a:accent3>
        <a:srgbClr val="68A3D8"/>
      </a:accent3>
      <a:accent4>
        <a:srgbClr val="DBDCDE"/>
      </a:accent4>
      <a:accent5>
        <a:srgbClr val="FF9966"/>
      </a:accent5>
      <a:accent6>
        <a:srgbClr val="FDB933"/>
      </a:accent6>
      <a:hlink>
        <a:srgbClr val="F8ED53"/>
      </a:hlink>
      <a:folHlink>
        <a:srgbClr val="808284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Тема Office">
  <a:themeElements>
    <a:clrScheme name="Илим от Савко">
      <a:dk1>
        <a:srgbClr val="161616"/>
      </a:dk1>
      <a:lt1>
        <a:srgbClr val="FFFFFF"/>
      </a:lt1>
      <a:dk2>
        <a:srgbClr val="F8ED53"/>
      </a:dk2>
      <a:lt2>
        <a:srgbClr val="7F7F7F"/>
      </a:lt2>
      <a:accent1>
        <a:srgbClr val="006736"/>
      </a:accent1>
      <a:accent2>
        <a:srgbClr val="82C45B"/>
      </a:accent2>
      <a:accent3>
        <a:srgbClr val="68A3D8"/>
      </a:accent3>
      <a:accent4>
        <a:srgbClr val="DBDCDE"/>
      </a:accent4>
      <a:accent5>
        <a:srgbClr val="FF9966"/>
      </a:accent5>
      <a:accent6>
        <a:srgbClr val="FDB933"/>
      </a:accent6>
      <a:hlink>
        <a:srgbClr val="F8ED53"/>
      </a:hlink>
      <a:folHlink>
        <a:srgbClr val="808284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Тема Office">
  <a:themeElements>
    <a:clrScheme name="Илим от Савко">
      <a:dk1>
        <a:srgbClr val="161616"/>
      </a:dk1>
      <a:lt1>
        <a:srgbClr val="FFFFFF"/>
      </a:lt1>
      <a:dk2>
        <a:srgbClr val="F8ED53"/>
      </a:dk2>
      <a:lt2>
        <a:srgbClr val="7F7F7F"/>
      </a:lt2>
      <a:accent1>
        <a:srgbClr val="006736"/>
      </a:accent1>
      <a:accent2>
        <a:srgbClr val="82C45B"/>
      </a:accent2>
      <a:accent3>
        <a:srgbClr val="68A3D8"/>
      </a:accent3>
      <a:accent4>
        <a:srgbClr val="DBDCDE"/>
      </a:accent4>
      <a:accent5>
        <a:srgbClr val="FF9966"/>
      </a:accent5>
      <a:accent6>
        <a:srgbClr val="FDB933"/>
      </a:accent6>
      <a:hlink>
        <a:srgbClr val="F8ED53"/>
      </a:hlink>
      <a:folHlink>
        <a:srgbClr val="808284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Тема Office">
  <a:themeElements>
    <a:clrScheme name="Ilim Group">
      <a:dk1>
        <a:srgbClr val="161616"/>
      </a:dk1>
      <a:lt1>
        <a:srgbClr val="FFFFFF"/>
      </a:lt1>
      <a:dk2>
        <a:srgbClr val="335B2F"/>
      </a:dk2>
      <a:lt2>
        <a:srgbClr val="C3D69B"/>
      </a:lt2>
      <a:accent1>
        <a:srgbClr val="335B2F"/>
      </a:accent1>
      <a:accent2>
        <a:srgbClr val="808080"/>
      </a:accent2>
      <a:accent3>
        <a:srgbClr val="9EA3A8"/>
      </a:accent3>
      <a:accent4>
        <a:srgbClr val="FFC000"/>
      </a:accent4>
      <a:accent5>
        <a:srgbClr val="002060"/>
      </a:accent5>
      <a:accent6>
        <a:srgbClr val="DEDEDE"/>
      </a:accent6>
      <a:hlink>
        <a:srgbClr val="808080"/>
      </a:hlink>
      <a:folHlink>
        <a:srgbClr val="9EA3A8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Шаблон презентации_Воронов">
  <a:themeElements>
    <a:clrScheme name="Илим от Савко">
      <a:dk1>
        <a:srgbClr val="161616"/>
      </a:dk1>
      <a:lt1>
        <a:srgbClr val="FFFFFF"/>
      </a:lt1>
      <a:dk2>
        <a:srgbClr val="F8ED53"/>
      </a:dk2>
      <a:lt2>
        <a:srgbClr val="7F7F7F"/>
      </a:lt2>
      <a:accent1>
        <a:srgbClr val="006736"/>
      </a:accent1>
      <a:accent2>
        <a:srgbClr val="82C45B"/>
      </a:accent2>
      <a:accent3>
        <a:srgbClr val="68A3D8"/>
      </a:accent3>
      <a:accent4>
        <a:srgbClr val="DBDCDE"/>
      </a:accent4>
      <a:accent5>
        <a:srgbClr val="FF9966"/>
      </a:accent5>
      <a:accent6>
        <a:srgbClr val="FDB933"/>
      </a:accent6>
      <a:hlink>
        <a:srgbClr val="F8ED53"/>
      </a:hlink>
      <a:folHlink>
        <a:srgbClr val="808284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78_Тема Office">
  <a:themeElements>
    <a:clrScheme name="Илим от Савко">
      <a:dk1>
        <a:srgbClr val="161616"/>
      </a:dk1>
      <a:lt1>
        <a:srgbClr val="FFFFFF"/>
      </a:lt1>
      <a:dk2>
        <a:srgbClr val="F8ED53"/>
      </a:dk2>
      <a:lt2>
        <a:srgbClr val="7F7F7F"/>
      </a:lt2>
      <a:accent1>
        <a:srgbClr val="006736"/>
      </a:accent1>
      <a:accent2>
        <a:srgbClr val="82C45B"/>
      </a:accent2>
      <a:accent3>
        <a:srgbClr val="68A3D8"/>
      </a:accent3>
      <a:accent4>
        <a:srgbClr val="DBDCDE"/>
      </a:accent4>
      <a:accent5>
        <a:srgbClr val="FF9966"/>
      </a:accent5>
      <a:accent6>
        <a:srgbClr val="FDB933"/>
      </a:accent6>
      <a:hlink>
        <a:srgbClr val="F8ED53"/>
      </a:hlink>
      <a:folHlink>
        <a:srgbClr val="808284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837</TotalTime>
  <Words>2191</Words>
  <Application>Microsoft Office PowerPoint</Application>
  <PresentationFormat>Экран (4:3)</PresentationFormat>
  <Paragraphs>218</Paragraphs>
  <Slides>13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1" baseType="lpstr">
      <vt:lpstr>3_Тема Office</vt:lpstr>
      <vt:lpstr>4_Тема Office</vt:lpstr>
      <vt:lpstr>7_Тема Office</vt:lpstr>
      <vt:lpstr>5_Тема Office</vt:lpstr>
      <vt:lpstr>1_Шаблон презентации_Воронов</vt:lpstr>
      <vt:lpstr>78_Тема Office</vt:lpstr>
      <vt:lpstr>think-cell Slide</vt:lpstr>
      <vt:lpstr>Слайд think-cell</vt:lpstr>
      <vt:lpstr>Слайд 1</vt:lpstr>
      <vt:lpstr>Основные требования по учету древесины в соответствии с 3-ФЗ</vt:lpstr>
      <vt:lpstr>Сроки вступления в силу подзаконных актов по учету древесины не синхронизированы </vt:lpstr>
      <vt:lpstr>Для адаптации к новому функционалу ЛесЕГАИС у компаний было менее одного дня</vt:lpstr>
      <vt:lpstr>Официальные требования к смартфонам для работы с МП ЛесЕГАИС до сих пор не опубликованы</vt:lpstr>
      <vt:lpstr>Основные элементы работы с модернизированной ЛесЕГАИС и мобильным приложением ЛесЕГАИС.mobile (МП)</vt:lpstr>
      <vt:lpstr>Интерфейс мобильного приложения ЛесЕГАИС.mobile достаточно простой</vt:lpstr>
      <vt:lpstr>После полностью правильно заполненного ЭСД с помощью МП при считывании QR кода распознается только незначительная часть обязательной информации, содержащейся в ЭСД</vt:lpstr>
      <vt:lpstr>Текущие формулировки КоАП и предложения Минприроды России по их изменению несут высокие риски для компаний</vt:lpstr>
      <vt:lpstr>Текущее состояние модернизированной ЛесЕГАИС и мобильного приложения ЛесЕГАИС.mobile несет риски для компаний</vt:lpstr>
      <vt:lpstr>Полный список замечаний по текущему состоянию модернизированной ЛесЕГАИС и мобильного приложения ЛесЕГАИС.mobile несет риски для компаний</vt:lpstr>
      <vt:lpstr>Предложения по доработке модернизированной ЛесЕГАИС и мобильного приложения ЛесЕГАИС.mobile</vt:lpstr>
      <vt:lpstr>Предложения по совершенствованию нормативной базы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вко Артем Николаевич</dc:creator>
  <cp:lastModifiedBy>Фокина</cp:lastModifiedBy>
  <cp:revision>1335</cp:revision>
  <cp:lastPrinted>2022-01-13T07:55:29Z</cp:lastPrinted>
  <dcterms:created xsi:type="dcterms:W3CDTF">2013-07-15T10:45:42Z</dcterms:created>
  <dcterms:modified xsi:type="dcterms:W3CDTF">2022-01-24T05:53:22Z</dcterms:modified>
</cp:coreProperties>
</file>